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theme/theme8.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9.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10.xml" ContentType="application/vnd.openxmlformats-officedocument.theme+xml"/>
  <Override PartName="/ppt/slideLayouts/slideLayout22.xml" ContentType="application/vnd.openxmlformats-officedocument.presentationml.slideLayout+xml"/>
  <Override PartName="/ppt/theme/theme11.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5.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6.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7.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8.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9.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05" r:id="rId1"/>
    <p:sldMasterId id="2147483700" r:id="rId2"/>
    <p:sldMasterId id="2147484097" r:id="rId3"/>
    <p:sldMasterId id="2147484115" r:id="rId4"/>
    <p:sldMasterId id="2147484454" r:id="rId5"/>
    <p:sldMasterId id="2147484091" r:id="rId6"/>
    <p:sldMasterId id="2147484523" r:id="rId7"/>
    <p:sldMasterId id="2147484619" r:id="rId8"/>
    <p:sldMasterId id="2147483661" r:id="rId9"/>
    <p:sldMasterId id="2147484170" r:id="rId10"/>
    <p:sldMasterId id="2147483730" r:id="rId11"/>
    <p:sldMasterId id="2147484637" r:id="rId12"/>
    <p:sldMasterId id="2147484669" r:id="rId13"/>
    <p:sldMasterId id="2147484697" r:id="rId14"/>
    <p:sldMasterId id="2147484725" r:id="rId15"/>
    <p:sldMasterId id="2147484752" r:id="rId16"/>
    <p:sldMasterId id="2147484842" r:id="rId17"/>
    <p:sldMasterId id="2147484869" r:id="rId18"/>
    <p:sldMasterId id="2147484907" r:id="rId19"/>
    <p:sldMasterId id="2147484948" r:id="rId20"/>
  </p:sldMasterIdLst>
  <p:notesMasterIdLst>
    <p:notesMasterId r:id="rId61"/>
  </p:notesMasterIdLst>
  <p:handoutMasterIdLst>
    <p:handoutMasterId r:id="rId62"/>
  </p:handoutMasterIdLst>
  <p:sldIdLst>
    <p:sldId id="2146845824" r:id="rId21"/>
    <p:sldId id="463" r:id="rId22"/>
    <p:sldId id="509" r:id="rId23"/>
    <p:sldId id="486" r:id="rId24"/>
    <p:sldId id="487" r:id="rId25"/>
    <p:sldId id="490" r:id="rId26"/>
    <p:sldId id="488" r:id="rId27"/>
    <p:sldId id="453" r:id="rId28"/>
    <p:sldId id="498" r:id="rId29"/>
    <p:sldId id="257" r:id="rId30"/>
    <p:sldId id="263" r:id="rId31"/>
    <p:sldId id="259" r:id="rId32"/>
    <p:sldId id="264" r:id="rId33"/>
    <p:sldId id="256" r:id="rId34"/>
    <p:sldId id="258" r:id="rId35"/>
    <p:sldId id="2146845825" r:id="rId36"/>
    <p:sldId id="2146845826" r:id="rId37"/>
    <p:sldId id="260" r:id="rId38"/>
    <p:sldId id="2146845827" r:id="rId39"/>
    <p:sldId id="2146845828" r:id="rId40"/>
    <p:sldId id="2146845829" r:id="rId41"/>
    <p:sldId id="2146845830" r:id="rId42"/>
    <p:sldId id="2146845831" r:id="rId43"/>
    <p:sldId id="2146845832" r:id="rId44"/>
    <p:sldId id="267" r:id="rId45"/>
    <p:sldId id="268" r:id="rId46"/>
    <p:sldId id="269" r:id="rId47"/>
    <p:sldId id="270" r:id="rId48"/>
    <p:sldId id="271" r:id="rId49"/>
    <p:sldId id="608" r:id="rId50"/>
    <p:sldId id="2146845821" r:id="rId51"/>
    <p:sldId id="2146845822" r:id="rId52"/>
    <p:sldId id="2132735745" r:id="rId53"/>
    <p:sldId id="2132735925" r:id="rId54"/>
    <p:sldId id="2132737703" r:id="rId55"/>
    <p:sldId id="2132735931" r:id="rId56"/>
    <p:sldId id="2146845833" r:id="rId57"/>
    <p:sldId id="2132735907" r:id="rId58"/>
    <p:sldId id="2132735868" r:id="rId59"/>
    <p:sldId id="273" r:id="rId60"/>
  </p:sldIdLst>
  <p:sldSz cx="9144000" cy="5143500" type="screen16x9"/>
  <p:notesSz cx="6858000" cy="9144000"/>
  <p:custDataLst>
    <p:tags r:id="rId63"/>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BDM" id="{C4691D00-7FB0-4BA3-8261-26DADE822A7F}">
          <p14:sldIdLst>
            <p14:sldId id="2146845824"/>
            <p14:sldId id="463"/>
            <p14:sldId id="509"/>
            <p14:sldId id="486"/>
            <p14:sldId id="487"/>
            <p14:sldId id="490"/>
            <p14:sldId id="488"/>
            <p14:sldId id="453"/>
            <p14:sldId id="498"/>
            <p14:sldId id="257"/>
            <p14:sldId id="263"/>
            <p14:sldId id="259"/>
            <p14:sldId id="264"/>
            <p14:sldId id="256"/>
            <p14:sldId id="258"/>
            <p14:sldId id="2146845825"/>
            <p14:sldId id="2146845826"/>
            <p14:sldId id="260"/>
            <p14:sldId id="2146845827"/>
            <p14:sldId id="2146845828"/>
            <p14:sldId id="2146845829"/>
            <p14:sldId id="2146845830"/>
            <p14:sldId id="2146845831"/>
            <p14:sldId id="2146845832"/>
            <p14:sldId id="267"/>
            <p14:sldId id="268"/>
            <p14:sldId id="269"/>
            <p14:sldId id="270"/>
            <p14:sldId id="271"/>
            <p14:sldId id="608"/>
            <p14:sldId id="2146845821"/>
            <p14:sldId id="2146845822"/>
            <p14:sldId id="2132735745"/>
            <p14:sldId id="2132735925"/>
            <p14:sldId id="2132737703"/>
            <p14:sldId id="2132735931"/>
            <p14:sldId id="2146845833"/>
            <p14:sldId id="2132735907"/>
            <p14:sldId id="2132735868"/>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 id="2" name="Barry Fisher (barfishe)" initials="BF(" lastIdx="1" clrIdx="2">
    <p:extLst>
      <p:ext uri="{19B8F6BF-5375-455C-9EA6-DF929625EA0E}">
        <p15:presenceInfo xmlns:p15="http://schemas.microsoft.com/office/powerpoint/2012/main" userId="S::barfishe@cisco.com::8cf0c691-2265-4e78-a9a3-2043dcbc1988" providerId="AD"/>
      </p:ext>
    </p:extLst>
  </p:cmAuthor>
  <p:cmAuthor id="3" name="Lorraine Bellon (lobellon)" initials="LB(" lastIdx="25" clrIdx="3">
    <p:extLst>
      <p:ext uri="{19B8F6BF-5375-455C-9EA6-DF929625EA0E}">
        <p15:presenceInfo xmlns:p15="http://schemas.microsoft.com/office/powerpoint/2012/main" userId="S::lobellon@cisco.com::0b8d9171-3e9d-43a5-a7b1-2d59fcea659b" providerId="AD"/>
      </p:ext>
    </p:extLst>
  </p:cmAuthor>
  <p:cmAuthor id="4" name="Microsoft Office User" initials="MOU" lastIdx="2" clrIdx="4">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F92"/>
    <a:srgbClr val="0D274D"/>
    <a:srgbClr val="6EBE4A"/>
    <a:srgbClr val="11364C"/>
    <a:srgbClr val="FFFFFF"/>
    <a:srgbClr val="004669"/>
    <a:srgbClr val="049FD9"/>
    <a:srgbClr val="1FAED4"/>
    <a:srgbClr val="676767"/>
    <a:srgbClr val="86DBF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70204"/>
  </p:normalViewPr>
  <p:slideViewPr>
    <p:cSldViewPr snapToGrid="0">
      <p:cViewPr varScale="1">
        <p:scale>
          <a:sx n="105" d="100"/>
          <a:sy n="105" d="100"/>
        </p:scale>
        <p:origin x="179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1/3/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1/3/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nterprise.verizon.com/resources/reports/dbir/"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umbrella.cisco.com/products/umbrella-investigate"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wsbtv.com/news/local/atlanta/ransomware-attack-cost-city-27-million-records-show/73081353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a:buFont typeface="Arial" charset="0"/>
              <a:buNone/>
            </a:pPr>
            <a:r>
              <a:rPr lang="en-US" sz="1200" b="0" i="0" u="none" strike="noStrike" kern="1200" dirty="0">
                <a:solidFill>
                  <a:schemeClr val="tx1"/>
                </a:solidFill>
                <a:effectLst/>
                <a:latin typeface="+mn-lt"/>
                <a:ea typeface="ＭＳ Ｐゴシック" charset="0"/>
                <a:cs typeface="ＭＳ Ｐゴシック" charset="0"/>
              </a:rPr>
              <a:t>Within your organization:</a:t>
            </a: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Is the use of SaaS apps prolific? </a:t>
            </a: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Are your remote and branch offices moving to direct internet access (DIA) instead of backhauling to a data center first? </a:t>
            </a: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Are you considering using</a:t>
            </a:r>
            <a:r>
              <a:rPr lang="en-US" sz="1200" b="0" i="0" u="none" strike="noStrike" kern="1200" baseline="0" dirty="0">
                <a:solidFill>
                  <a:schemeClr val="tx1"/>
                </a:solidFill>
                <a:effectLst/>
                <a:latin typeface="+mn-lt"/>
                <a:ea typeface="ＭＳ Ｐゴシック" charset="0"/>
                <a:cs typeface="ＭＳ Ｐゴシック" charset="0"/>
              </a:rPr>
              <a:t> SD-WAN to enable your DIA transformation? </a:t>
            </a:r>
            <a:endParaRPr lang="en-US" sz="1200" b="0" i="0" u="none" strike="noStrike" kern="1200" dirty="0">
              <a:solidFill>
                <a:schemeClr val="tx1"/>
              </a:solidFill>
              <a:effectLst/>
              <a:latin typeface="+mn-lt"/>
              <a:ea typeface="ＭＳ Ｐゴシック" charset="0"/>
              <a:cs typeface="ＭＳ Ｐゴシック" charset="0"/>
            </a:endParaRP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Keeping it all secure with limited staff leaves you looking for an easier way.</a:t>
            </a:r>
          </a:p>
          <a:p>
            <a:pPr marL="171450" indent="-171450" rtl="0">
              <a:buFont typeface="Arial" charset="0"/>
              <a:buChar char="•"/>
            </a:pPr>
            <a:endParaRPr lang="en-US" sz="1200" b="0" i="0" u="none" strike="noStrike" kern="1200" dirty="0">
              <a:solidFill>
                <a:schemeClr val="tx1"/>
              </a:solidFill>
              <a:effectLst/>
              <a:latin typeface="+mn-lt"/>
              <a:ea typeface="ＭＳ Ｐゴシック" charset="0"/>
              <a:cs typeface="ＭＳ Ｐゴシック" charset="0"/>
            </a:endParaRPr>
          </a:p>
          <a:p>
            <a:pPr marL="0" indent="0" rtl="0">
              <a:buFont typeface="Arial" charset="0"/>
              <a:buNone/>
            </a:pPr>
            <a:r>
              <a:rPr lang="en-US" sz="1200" b="0" i="0" u="none" strike="noStrike" kern="1200" dirty="0">
                <a:solidFill>
                  <a:schemeClr val="tx1"/>
                </a:solidFill>
                <a:effectLst/>
                <a:latin typeface="+mn-lt"/>
                <a:ea typeface="ＭＳ Ｐゴシック" charset="0"/>
                <a:cs typeface="ＭＳ Ｐゴシック" charset="0"/>
              </a:rPr>
              <a:t>A secure internet gateway, like Cisco Umbrella, can help. </a:t>
            </a:r>
          </a:p>
          <a:p>
            <a:pPr marL="171450" indent="-171450" rtl="0">
              <a:buFont typeface="Arial" charset="0"/>
              <a:buChar char="•"/>
            </a:pPr>
            <a:endParaRPr lang="en-US" sz="1200" b="0" i="0" u="none" strike="noStrike" kern="1200" dirty="0">
              <a:solidFill>
                <a:schemeClr val="tx1"/>
              </a:solidFill>
              <a:effectLst/>
              <a:latin typeface="+mn-lt"/>
              <a:ea typeface="ＭＳ Ｐゴシック" charset="0"/>
              <a:cs typeface="ＭＳ Ｐゴシック" charset="0"/>
            </a:endParaRPr>
          </a:p>
          <a:p>
            <a:pPr marL="0" indent="0" rtl="0">
              <a:buFont typeface="Arial" charset="0"/>
              <a:buNone/>
            </a:pPr>
            <a:r>
              <a:rPr lang="en-US" sz="1200" b="0" i="0" u="none" strike="noStrike" kern="1200" dirty="0">
                <a:solidFill>
                  <a:schemeClr val="tx1"/>
                </a:solidFill>
                <a:effectLst/>
                <a:latin typeface="+mn-lt"/>
                <a:ea typeface="ＭＳ Ｐゴシック" charset="0"/>
                <a:cs typeface="ＭＳ Ｐゴシック" charset="0"/>
              </a:rPr>
              <a:t>During</a:t>
            </a:r>
            <a:r>
              <a:rPr lang="en-US" sz="1200" b="0" i="0" u="none" strike="noStrike" kern="1200" baseline="0" dirty="0">
                <a:solidFill>
                  <a:schemeClr val="tx1"/>
                </a:solidFill>
                <a:effectLst/>
                <a:latin typeface="+mn-lt"/>
                <a:ea typeface="ＭＳ Ｐゴシック" charset="0"/>
                <a:cs typeface="ＭＳ Ｐゴシック" charset="0"/>
              </a:rPr>
              <a:t> this presentation, we’ll discuss:</a:t>
            </a: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How Cisco Umbrella integrates multiple security services — DNS-layer security, firewall, secure web gateway, cloud access security broker, and more — to centrally manage protection for all of your remote and branch locations </a:t>
            </a:r>
          </a:p>
          <a:p>
            <a:pPr marL="171450" indent="-171450" rtl="0">
              <a:buFont typeface="Arial" charset="0"/>
              <a:buChar char="•"/>
            </a:pPr>
            <a:r>
              <a:rPr lang="en-US" sz="1200" b="0" i="0" u="none" strike="noStrike" kern="1200" dirty="0">
                <a:solidFill>
                  <a:schemeClr val="tx1"/>
                </a:solidFill>
                <a:effectLst/>
                <a:latin typeface="+mn-lt"/>
                <a:ea typeface="ＭＳ Ｐゴシック" charset="0"/>
                <a:cs typeface="ＭＳ Ｐゴシック" charset="0"/>
              </a:rPr>
              <a:t>Umbrella now offers more effective protection from a single platform, reducing the time, money, and resources previously required for deployment, configuration, and integration tasks</a:t>
            </a:r>
            <a:endParaRPr lang="en-US" b="0" dirty="0">
              <a:effectLs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8B8799-42A2-4D43-AF76-D322083628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1196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9DFA4F5-34BA-490F-841A-F2658872D99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489181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30000" dirty="0"/>
              <a:t>1</a:t>
            </a:r>
            <a:r>
              <a:rPr lang="en-US" dirty="0"/>
              <a:t> </a:t>
            </a:r>
            <a:r>
              <a:rPr lang="en-US" sz="1200" u="sng" kern="1200" dirty="0">
                <a:solidFill>
                  <a:schemeClr val="tx1"/>
                </a:solidFill>
                <a:effectLst/>
                <a:latin typeface="+mn-lt"/>
                <a:ea typeface="+mn-ea"/>
                <a:cs typeface="+mn-cs"/>
                <a:hlinkClick r:id="rId3"/>
              </a:rPr>
              <a:t>Verizon 2019 Data Breach Investigations Report</a:t>
            </a:r>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9DFA4F5-34BA-490F-841A-F2658872D99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719351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9DFA4F5-34BA-490F-841A-F2658872D99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72602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9DFA4F5-34BA-490F-841A-F2658872D99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782511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the following blog for further details of the content </a:t>
            </a:r>
            <a:r>
              <a:rPr lang="en-US"/>
              <a:t>in these slides:</a:t>
            </a:r>
            <a:endParaRPr lang="en-US" dirty="0"/>
          </a:p>
          <a:p>
            <a:r>
              <a:rPr lang="en-US" dirty="0"/>
              <a:t>https://</a:t>
            </a:r>
            <a:r>
              <a:rPr lang="en-US" dirty="0" err="1"/>
              <a:t>blogs.cisco.com</a:t>
            </a:r>
            <a:r>
              <a:rPr lang="en-US" dirty="0"/>
              <a:t>/security/threat-protection-the-</a:t>
            </a:r>
            <a:r>
              <a:rPr lang="en-US" dirty="0" err="1"/>
              <a:t>revil</a:t>
            </a:r>
            <a:r>
              <a:rPr lang="en-US" dirty="0"/>
              <a:t>-ransomwa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0278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l has been in the news due to it’s use in several high-profile attacks: JBS, Kaseya, etc. </a:t>
            </a:r>
          </a:p>
          <a:p>
            <a:r>
              <a:rPr lang="en-US" dirty="0"/>
              <a:t>REvil uses RaaS model: affiliates work alongside the REvil developers to compromise networks. These affiliates then split the ransom with the threat actors who develop REvil.</a:t>
            </a:r>
          </a:p>
          <a:p>
            <a:r>
              <a:rPr lang="en-US" dirty="0"/>
              <a:t>We took a look at DNS activity for REvil in 2020, and recently revisited it for the first half of 2021</a:t>
            </a:r>
          </a:p>
          <a:p>
            <a:pPr lvl="1"/>
            <a:r>
              <a:rPr lang="en-US" dirty="0"/>
              <a:t>According to this data, the average number of endpoints impacted by REvil in a given month was similar in 2020 and 2021</a:t>
            </a:r>
          </a:p>
          <a:p>
            <a:pPr lvl="1"/>
            <a:r>
              <a:rPr lang="en-US" dirty="0"/>
              <a:t>However, there was a dramatic increase in DNS activity in 2021, when these high-profile attacks occurred.</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09569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We going to talk about how REvil works, or what it does to a computer in the process of locking it down. </a:t>
            </a:r>
          </a:p>
          <a:p>
            <a:r>
              <a:rPr lang="en-US" sz="1200" kern="1200" dirty="0">
                <a:solidFill>
                  <a:schemeClr val="tx1"/>
                </a:solidFill>
                <a:effectLst/>
                <a:latin typeface="+mn-lt"/>
                <a:ea typeface="ＭＳ Ｐゴシック" charset="0"/>
                <a:cs typeface="ＭＳ Ｐゴシック" charset="0"/>
              </a:rPr>
              <a:t>The behavior and functionality present in REvil from one campaign to the next does vary.</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For example, in the case where REvil leveraged Kaseya software, there was no C2 functionality, since the threat actors used the Kaseya software to send instructions instead.</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Still, there are several core behaviors worth examining, and the result is largely the same from one campaign to the next.</a:t>
            </a:r>
          </a:p>
          <a:p>
            <a:r>
              <a:rPr lang="en-US" sz="1200" kern="1200" dirty="0">
                <a:solidFill>
                  <a:schemeClr val="tx1"/>
                </a:solidFill>
                <a:effectLst/>
                <a:latin typeface="+mn-lt"/>
                <a:ea typeface="ＭＳ Ｐゴシック" charset="0"/>
                <a:cs typeface="ＭＳ Ｐゴシック" charset="0"/>
              </a:rPr>
              <a:t>To look at these behaviors in detail, we used Cisco Secure Malware Analytics.</a:t>
            </a:r>
          </a:p>
          <a:p>
            <a:r>
              <a:rPr lang="en-US" sz="1200" kern="1200" dirty="0">
                <a:solidFill>
                  <a:schemeClr val="tx1"/>
                </a:solidFill>
                <a:effectLst/>
                <a:latin typeface="+mn-lt"/>
                <a:ea typeface="ＭＳ Ｐゴシック" charset="0"/>
                <a:cs typeface="ＭＳ Ｐゴシック" charset="0"/>
              </a:rPr>
              <a:t>Malware Analytics </a:t>
            </a:r>
            <a:r>
              <a:rPr lang="en-US" dirty="0"/>
              <a:t>provides advanced threat sandboxing, giving context-rich malware analytics and threat intelligence, allowing security teams to quickly respond to threats.</a:t>
            </a:r>
          </a:p>
          <a:p>
            <a:r>
              <a:rPr lang="en-US" sz="1200" kern="1200" dirty="0">
                <a:solidFill>
                  <a:schemeClr val="tx1"/>
                </a:solidFill>
                <a:effectLst/>
                <a:latin typeface="+mn-lt"/>
                <a:ea typeface="ＭＳ Ｐゴシック" charset="0"/>
                <a:cs typeface="ＭＳ Ｐゴシック" charset="0"/>
              </a:rPr>
              <a:t>We looked at several REvil samples in Malware Analytics what follows is the findings.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5020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In almost all cases, REvil creates a mutex. </a:t>
            </a:r>
          </a:p>
          <a:p>
            <a:r>
              <a:rPr lang="en-US" sz="1200" kern="1200" dirty="0">
                <a:solidFill>
                  <a:schemeClr val="tx1"/>
                </a:solidFill>
                <a:effectLst/>
                <a:latin typeface="+mn-lt"/>
                <a:ea typeface="ＭＳ Ｐゴシック" charset="0"/>
                <a:cs typeface="ＭＳ Ｐゴシック" charset="0"/>
              </a:rPr>
              <a:t>In software development, a mutex is used to ensure that only one copy of a given program runs at a time. </a:t>
            </a:r>
          </a:p>
          <a:p>
            <a:r>
              <a:rPr lang="en-US" sz="1200" kern="1200" dirty="0">
                <a:solidFill>
                  <a:schemeClr val="tx1"/>
                </a:solidFill>
                <a:effectLst/>
                <a:latin typeface="+mn-lt"/>
                <a:ea typeface="ＭＳ Ｐゴシック" charset="0"/>
                <a:cs typeface="ＭＳ Ｐゴシック" charset="0"/>
              </a:rPr>
              <a:t>Let's say for example, you launch Outlook on your PC. Then you try to launch it again. </a:t>
            </a:r>
          </a:p>
          <a:p>
            <a:r>
              <a:rPr lang="en-US" sz="1200" kern="1200" dirty="0">
                <a:solidFill>
                  <a:schemeClr val="tx1"/>
                </a:solidFill>
                <a:effectLst/>
                <a:latin typeface="+mn-lt"/>
                <a:ea typeface="ＭＳ Ｐゴシック" charset="0"/>
                <a:cs typeface="ＭＳ Ｐゴシック" charset="0"/>
              </a:rPr>
              <a:t>The software will check to see if the mutex is running, and if it is, it won't launch a second copy. </a:t>
            </a:r>
          </a:p>
          <a:p>
            <a:r>
              <a:rPr lang="en-US" sz="1200" kern="1200" dirty="0">
                <a:solidFill>
                  <a:schemeClr val="tx1"/>
                </a:solidFill>
                <a:effectLst/>
                <a:latin typeface="+mn-lt"/>
                <a:ea typeface="ＭＳ Ｐゴシック" charset="0"/>
                <a:cs typeface="ＭＳ Ｐゴシック" charset="0"/>
              </a:rPr>
              <a:t>Malware often does this too. </a:t>
            </a:r>
          </a:p>
          <a:p>
            <a:r>
              <a:rPr lang="en-US" sz="1200" kern="1200" dirty="0">
                <a:solidFill>
                  <a:schemeClr val="tx1"/>
                </a:solidFill>
                <a:effectLst/>
                <a:latin typeface="+mn-lt"/>
                <a:ea typeface="ＭＳ Ｐゴシック" charset="0"/>
                <a:cs typeface="ＭＳ Ｐゴシック" charset="0"/>
              </a:rPr>
              <a:t>The silver lining here is that a mutex can also be used to identify the malware and block i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42580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After creating the mutex, REvil will often work to establish persistence.</a:t>
            </a:r>
          </a:p>
          <a:p>
            <a:r>
              <a:rPr lang="en-US" sz="1200" kern="1200" dirty="0">
                <a:solidFill>
                  <a:schemeClr val="tx1"/>
                </a:solidFill>
                <a:effectLst/>
                <a:latin typeface="+mn-lt"/>
                <a:ea typeface="ＭＳ Ｐゴシック" charset="0"/>
                <a:cs typeface="ＭＳ Ｐゴシック" charset="0"/>
              </a:rPr>
              <a:t>It usually does this by creating registry keys so that the threat will start when Windows starts, allowing it to survive a reboot of the computer. </a:t>
            </a:r>
          </a:p>
          <a:p>
            <a:r>
              <a:rPr lang="en-US" dirty="0"/>
              <a:t>The creation of run keys, like mutexes, is a fairly common practice for software. </a:t>
            </a:r>
          </a:p>
          <a:p>
            <a:r>
              <a:rPr lang="en-US" dirty="0"/>
              <a:t>However, REvil sometimes creates run keys that point to files in temporary folders. </a:t>
            </a:r>
          </a:p>
          <a:p>
            <a:r>
              <a:rPr lang="en-US" dirty="0"/>
              <a:t>This sort of behavior is hardly ever done by legitimate programs since files in temporary folders are meant to be just that—temporar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4081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In addition to creating registry keys, REvil also terminates processes and services that may interfere with its operations.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On the left side, REvil is changing registry keys for two services that start when Windows start. </a:t>
            </a:r>
          </a:p>
          <a:p>
            <a:r>
              <a:rPr lang="en-US" dirty="0"/>
              <a:t>One of services are involved in managing file signatures and certificates, and the other looks after application compatibility.</a:t>
            </a:r>
          </a:p>
          <a:p>
            <a:r>
              <a:rPr lang="en-US" dirty="0"/>
              <a:t>Disabling these makes it easier for REvil to execute further code on the compromised computer.</a:t>
            </a:r>
          </a:p>
          <a:p>
            <a:r>
              <a:rPr lang="en-US" dirty="0"/>
              <a:t>In another instance (right side) REvil attempts to delete these registry keys and services, instead of simply disabling them. </a:t>
            </a:r>
          </a:p>
          <a:p>
            <a:r>
              <a:rPr lang="en-US" dirty="0"/>
              <a:t>It’s a more severe approach, but the advantage is that it prevents the services from simply being re-enabled.</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9207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708165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REvil looks for and deletes backups on the machine. </a:t>
            </a:r>
          </a:p>
          <a:p>
            <a:r>
              <a:rPr lang="en-US" dirty="0"/>
              <a:t>In particular, these backups are called “shadow copies”</a:t>
            </a:r>
          </a:p>
          <a:p>
            <a:r>
              <a:rPr lang="en-US" dirty="0"/>
              <a:t>If these shadow copies were left on the machine, it could still be possible for a user to restore the files that have been encrypted. </a:t>
            </a:r>
          </a:p>
          <a:p>
            <a:r>
              <a:rPr lang="en-US" dirty="0"/>
              <a:t>So REvil deletes these shadow copie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This essentially takes local file restoration off the table.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2588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REvil also often disables various Windows recovery tools that are generally accessible when rebooting a computer, as seen on the left.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Disabling these tools makes it even harder to restore a computer.</a:t>
            </a:r>
          </a:p>
          <a:p>
            <a:r>
              <a:rPr lang="en-US" dirty="0" err="1"/>
              <a:t>Revil</a:t>
            </a:r>
            <a:r>
              <a:rPr lang="en-US" dirty="0"/>
              <a:t> also tells Windows to ignore boot failures, as shown on the right side.</a:t>
            </a:r>
          </a:p>
          <a:p>
            <a:r>
              <a:rPr lang="en-US" dirty="0"/>
              <a:t>While hiding a boot failure in and of itself isn’t critical, what this does given the way Windows is set up, is it hides the Windows recovery tool menu.</a:t>
            </a:r>
          </a:p>
          <a:p>
            <a:r>
              <a:rPr lang="en-US" dirty="0"/>
              <a:t>This is another way that prevents access to recovery tool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6398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In terms of the network, REvil often makes changes to the Windows Firewall. </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There are a number of things it could do, but we often saw it enabling Network Discovery.</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This makes it easier for REvil to find other computers on the network and spread further.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3816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carry out various functions remotely, the threat actors behind REvil often need it to connect back to a C2 server. </a:t>
            </a:r>
          </a:p>
          <a:p>
            <a:r>
              <a:rPr lang="en-US" dirty="0"/>
              <a:t>There are exceptions, such as the Kaseya-based attacks mentioned earlier, where the Kaseya software was leveraged for communication. </a:t>
            </a:r>
          </a:p>
          <a:p>
            <a:r>
              <a:rPr lang="en-US" dirty="0"/>
              <a:t>In this particular example, each of the C2 servers listed here have been classified as high risk by Cisco Umbrella.</a:t>
            </a:r>
          </a:p>
          <a:p>
            <a:r>
              <a:rPr lang="en-US" dirty="0">
                <a:solidFill>
                  <a:schemeClr val="bg1"/>
                </a:solidFill>
              </a:rPr>
              <a:t>With </a:t>
            </a:r>
            <a:r>
              <a:rPr lang="en-US" dirty="0">
                <a:solidFill>
                  <a:schemeClr val="bg1"/>
                </a:solidFill>
                <a:hlinkClick r:id="rId3">
                  <a:extLst>
                    <a:ext uri="{A12FA001-AC4F-418D-AE19-62706E023703}">
                      <ahyp:hlinkClr xmlns:ahyp="http://schemas.microsoft.com/office/drawing/2018/hyperlinkcolor" val="tx"/>
                    </a:ext>
                  </a:extLst>
                </a:hlinkClick>
              </a:rPr>
              <a:t>Umbrella Investigate</a:t>
            </a:r>
            <a:r>
              <a:rPr lang="en-US" dirty="0">
                <a:solidFill>
                  <a:schemeClr val="bg1"/>
                </a:solidFill>
              </a:rPr>
              <a:t> on the right, we’re </a:t>
            </a:r>
            <a:r>
              <a:rPr lang="en-US" dirty="0"/>
              <a:t>able to see that the domain is specifically associated with REvil.</a:t>
            </a:r>
          </a:p>
          <a:p>
            <a:r>
              <a:rPr lang="en-US" dirty="0"/>
              <a:t>In this case connections were blocked by defaul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1975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everything up to this point is preparation for </a:t>
            </a:r>
            <a:r>
              <a:rPr lang="en-US" dirty="0" err="1"/>
              <a:t>REvil’s</a:t>
            </a:r>
            <a:r>
              <a:rPr lang="en-US" dirty="0"/>
              <a:t> core task. </a:t>
            </a:r>
          </a:p>
          <a:p>
            <a:r>
              <a:rPr lang="en-US" dirty="0"/>
              <a:t>That’s encrypting the files on the drive.</a:t>
            </a:r>
          </a:p>
          <a:p>
            <a:r>
              <a:rPr lang="en-US" dirty="0"/>
              <a:t>This is generally where you see the computer slowing down and might even hear the hard drive grinding away.</a:t>
            </a:r>
          </a:p>
          <a:p>
            <a:r>
              <a:rPr lang="en-US" dirty="0"/>
              <a:t>This step can take a while, depending on the size of the hard drive.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5114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REvil encrypts the drive, it also creates and drops ransom notes throughout the drive. </a:t>
            </a:r>
          </a:p>
          <a:p>
            <a:r>
              <a:rPr lang="en-US" dirty="0"/>
              <a:t>These files contain info about how to pay the ransom.</a:t>
            </a:r>
          </a:p>
          <a:p>
            <a:r>
              <a:rPr lang="en-US" dirty="0"/>
              <a:t>We’ll look at one of these in a mome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0383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as the encryption wraps up, REvil will change the desktop wallpaper, giving a clear visual indication that the computer has been compromised.</a:t>
            </a:r>
          </a:p>
          <a:p>
            <a:r>
              <a:rPr lang="en-US" dirty="0"/>
              <a:t>The new wallpaper includes a message guiding the user to the ransom file, containing the instructions to recover the fil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717071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ere is what an encrypted desktop looks like, with the ransom note open.</a:t>
            </a:r>
          </a:p>
          <a:p>
            <a:r>
              <a:rPr lang="en-US" dirty="0"/>
              <a:t>There are a few interesting things in the ransom note.</a:t>
            </a:r>
          </a:p>
          <a:p>
            <a:r>
              <a:rPr lang="en-US" dirty="0"/>
              <a:t>For instance, the attackers make the claim that “this is just business” </a:t>
            </a:r>
          </a:p>
          <a:p>
            <a:r>
              <a:rPr lang="en-US" dirty="0"/>
              <a:t>They give a couple of options for restoring files.</a:t>
            </a:r>
          </a:p>
          <a:p>
            <a:r>
              <a:rPr lang="en-US" dirty="0"/>
              <a:t>They also mention the random file extension that REvil has us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01267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see here the files in the documents folder have all been encrypted with this file extension. </a:t>
            </a:r>
          </a:p>
          <a:p>
            <a:r>
              <a:rPr lang="en-US" dirty="0"/>
              <a:t>This computer is now effectively unusabl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68957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So in terms of real world defense, if you have endpoint protection in place, it’s unlikely you’ll see all this play out. </a:t>
            </a:r>
          </a:p>
          <a:p>
            <a:r>
              <a:rPr lang="en-US" sz="1200" kern="1200" dirty="0">
                <a:solidFill>
                  <a:schemeClr val="tx1"/>
                </a:solidFill>
                <a:effectLst/>
                <a:latin typeface="+mn-lt"/>
                <a:ea typeface="ＭＳ Ｐゴシック" charset="0"/>
                <a:cs typeface="ＭＳ Ｐゴシック" charset="0"/>
              </a:rPr>
              <a:t>For instance, with Cisco Endpoint Protection, REvil will likely be caught before it could even execute (left side).</a:t>
            </a:r>
          </a:p>
          <a:p>
            <a:r>
              <a:rPr lang="en-US" sz="1200" kern="1200" dirty="0">
                <a:solidFill>
                  <a:schemeClr val="tx1"/>
                </a:solidFill>
                <a:effectLst/>
                <a:latin typeface="+mn-lt"/>
                <a:ea typeface="ＭＳ Ｐゴシック" charset="0"/>
                <a:cs typeface="ＭＳ Ｐゴシック" charset="0"/>
              </a:rPr>
              <a:t>In this case, the threat has been blocked by Secure Endpoint’s “</a:t>
            </a:r>
            <a:r>
              <a:rPr lang="en-US" sz="1200" kern="1200" dirty="0" err="1">
                <a:solidFill>
                  <a:schemeClr val="tx1"/>
                </a:solidFill>
                <a:effectLst/>
                <a:latin typeface="+mn-lt"/>
                <a:ea typeface="ＭＳ Ｐゴシック" charset="0"/>
                <a:cs typeface="ＭＳ Ｐゴシック" charset="0"/>
              </a:rPr>
              <a:t>Sodin</a:t>
            </a:r>
            <a:r>
              <a:rPr lang="en-US" sz="1200" kern="1200" dirty="0">
                <a:solidFill>
                  <a:schemeClr val="tx1"/>
                </a:solidFill>
                <a:effectLst/>
                <a:latin typeface="+mn-lt"/>
                <a:ea typeface="ＭＳ Ｐゴシック" charset="0"/>
                <a:cs typeface="ＭＳ Ｐゴシック" charset="0"/>
              </a:rPr>
              <a:t>” detection. </a:t>
            </a:r>
            <a:endParaRPr lang="en-US" dirty="0"/>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However, </a:t>
            </a:r>
            <a:r>
              <a:rPr lang="en-US" sz="1200" kern="1200" dirty="0" err="1">
                <a:solidFill>
                  <a:schemeClr val="tx1"/>
                </a:solidFill>
                <a:effectLst/>
                <a:latin typeface="+mn-lt"/>
                <a:ea typeface="ＭＳ Ｐゴシック" charset="0"/>
                <a:cs typeface="ＭＳ Ｐゴシック" charset="0"/>
              </a:rPr>
              <a:t>REvil’s</a:t>
            </a:r>
            <a:r>
              <a:rPr lang="en-US" sz="1200" kern="1200" dirty="0">
                <a:solidFill>
                  <a:schemeClr val="tx1"/>
                </a:solidFill>
                <a:effectLst/>
                <a:latin typeface="+mn-lt"/>
                <a:ea typeface="ＭＳ Ｐゴシック" charset="0"/>
                <a:cs typeface="ＭＳ Ｐゴシック" charset="0"/>
              </a:rPr>
              <a:t> behavior is sometimes so standard that it can get picked up by a generic ransomware signature (right side).</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The fact is that REvil doesn’t act that different from one campaign to the next</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ＭＳ Ｐゴシック" charset="0"/>
                <a:cs typeface="ＭＳ Ｐゴシック" charset="0"/>
              </a:rPr>
              <a:t>With security protections in place, it can generally be caught before it can wreck havoc on a system or network.</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822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864607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rtl="0">
              <a:buFont typeface="Arial" charset="0"/>
              <a:buNone/>
            </a:pPr>
            <a:r>
              <a:rPr lang="en-US" sz="1200" b="0" i="0" u="none" strike="noStrike" kern="1200">
                <a:solidFill>
                  <a:schemeClr val="tx1"/>
                </a:solidFill>
                <a:effectLst/>
                <a:latin typeface="+mn-lt"/>
                <a:ea typeface="ＭＳ Ｐゴシック" charset="0"/>
                <a:cs typeface="ＭＳ Ｐゴシック" charset="0"/>
              </a:rPr>
              <a:t>Within your organization:</a:t>
            </a: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Is the use of SaaS apps prolific? </a:t>
            </a: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Are your remote and branch offices moving to direct internet access (DIA) instead of backhauling to a data center first? </a:t>
            </a: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Are you considering using</a:t>
            </a:r>
            <a:r>
              <a:rPr lang="en-US" sz="1200" b="0" i="0" u="none" strike="noStrike" kern="1200" baseline="0">
                <a:solidFill>
                  <a:schemeClr val="tx1"/>
                </a:solidFill>
                <a:effectLst/>
                <a:latin typeface="+mn-lt"/>
                <a:ea typeface="ＭＳ Ｐゴシック" charset="0"/>
                <a:cs typeface="ＭＳ Ｐゴシック" charset="0"/>
              </a:rPr>
              <a:t> SD-WAN to enable your DIA transformation? </a:t>
            </a:r>
            <a:endParaRPr lang="en-US" sz="1200" b="0" i="0" u="none" strike="noStrike" kern="1200">
              <a:solidFill>
                <a:schemeClr val="tx1"/>
              </a:solidFill>
              <a:effectLst/>
              <a:latin typeface="+mn-lt"/>
              <a:ea typeface="ＭＳ Ｐゴシック" charset="0"/>
              <a:cs typeface="ＭＳ Ｐゴシック" charset="0"/>
            </a:endParaRP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Keeping it all secure with limited staff leaves you looking for an easier way.</a:t>
            </a:r>
          </a:p>
          <a:p>
            <a:pPr marL="171450" indent="-171450" rtl="0">
              <a:buFont typeface="Arial" charset="0"/>
              <a:buChar char="•"/>
            </a:pPr>
            <a:endParaRPr lang="en-US" sz="1200" b="0" i="0" u="none" strike="noStrike" kern="1200">
              <a:solidFill>
                <a:schemeClr val="tx1"/>
              </a:solidFill>
              <a:effectLst/>
              <a:latin typeface="+mn-lt"/>
              <a:ea typeface="ＭＳ Ｐゴシック" charset="0"/>
              <a:cs typeface="ＭＳ Ｐゴシック" charset="0"/>
            </a:endParaRPr>
          </a:p>
          <a:p>
            <a:pPr marL="0" indent="0" rtl="0">
              <a:buFont typeface="Arial" charset="0"/>
              <a:buNone/>
            </a:pPr>
            <a:r>
              <a:rPr lang="en-US" sz="1200" b="0" i="0" u="none" strike="noStrike" kern="1200">
                <a:solidFill>
                  <a:schemeClr val="tx1"/>
                </a:solidFill>
                <a:effectLst/>
                <a:latin typeface="+mn-lt"/>
                <a:ea typeface="ＭＳ Ｐゴシック" charset="0"/>
                <a:cs typeface="ＭＳ Ｐゴシック" charset="0"/>
              </a:rPr>
              <a:t>A secure internet gateway, like Cisco Umbrella, can help. </a:t>
            </a:r>
          </a:p>
          <a:p>
            <a:pPr marL="171450" indent="-171450" rtl="0">
              <a:buFont typeface="Arial" charset="0"/>
              <a:buChar char="•"/>
            </a:pPr>
            <a:endParaRPr lang="en-US" sz="1200" b="0" i="0" u="none" strike="noStrike" kern="1200">
              <a:solidFill>
                <a:schemeClr val="tx1"/>
              </a:solidFill>
              <a:effectLst/>
              <a:latin typeface="+mn-lt"/>
              <a:ea typeface="ＭＳ Ｐゴシック" charset="0"/>
              <a:cs typeface="ＭＳ Ｐゴシック" charset="0"/>
            </a:endParaRPr>
          </a:p>
          <a:p>
            <a:pPr marL="0" indent="0" rtl="0">
              <a:buFont typeface="Arial" charset="0"/>
              <a:buNone/>
            </a:pPr>
            <a:r>
              <a:rPr lang="en-US" sz="1200" b="0" i="0" u="none" strike="noStrike" kern="1200">
                <a:solidFill>
                  <a:schemeClr val="tx1"/>
                </a:solidFill>
                <a:effectLst/>
                <a:latin typeface="+mn-lt"/>
                <a:ea typeface="ＭＳ Ｐゴシック" charset="0"/>
                <a:cs typeface="ＭＳ Ｐゴシック" charset="0"/>
              </a:rPr>
              <a:t>During</a:t>
            </a:r>
            <a:r>
              <a:rPr lang="en-US" sz="1200" b="0" i="0" u="none" strike="noStrike" kern="1200" baseline="0">
                <a:solidFill>
                  <a:schemeClr val="tx1"/>
                </a:solidFill>
                <a:effectLst/>
                <a:latin typeface="+mn-lt"/>
                <a:ea typeface="ＭＳ Ｐゴシック" charset="0"/>
                <a:cs typeface="ＭＳ Ｐゴシック" charset="0"/>
              </a:rPr>
              <a:t> this presentation, we’ll discuss:</a:t>
            </a: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How Cisco Umbrella integrates multiple security services — DNS-layer security, firewall, secure web gateway, cloud access security broker, and more — to centrally manage protection for all of your remote and branch locations </a:t>
            </a:r>
          </a:p>
          <a:p>
            <a:pPr marL="171450" indent="-171450" rtl="0">
              <a:buFont typeface="Arial" charset="0"/>
              <a:buChar char="•"/>
            </a:pPr>
            <a:r>
              <a:rPr lang="en-US" sz="1200" b="0" i="0" u="none" strike="noStrike" kern="1200">
                <a:solidFill>
                  <a:schemeClr val="tx1"/>
                </a:solidFill>
                <a:effectLst/>
                <a:latin typeface="+mn-lt"/>
                <a:ea typeface="ＭＳ Ｐゴシック" charset="0"/>
                <a:cs typeface="ＭＳ Ｐゴシック" charset="0"/>
              </a:rPr>
              <a:t>Umbrella now offers more effective protection from a single platform, reducing the time, money, and resources previously required for deployment, configuration, and integration tasks</a:t>
            </a:r>
            <a:endParaRPr lang="en-US" b="0">
              <a:effectLs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8B8799-42A2-4D43-AF76-D322083628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98472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CC6835A-99CD-D047-AF28-0822D282CBB7}"/>
              </a:ext>
            </a:extLst>
          </p:cNvPr>
          <p:cNvSpPr>
            <a:spLocks noGrp="1"/>
          </p:cNvSpPr>
          <p:nvPr>
            <p:ph type="body" idx="1"/>
          </p:nvPr>
        </p:nvSpPr>
        <p:spPr/>
        <p:txBody>
          <a:bodyPr/>
          <a:lstStyle/>
          <a:p>
            <a:pPr lvl="0">
              <a:defRPr/>
            </a:pPr>
            <a:r>
              <a:rPr lang="en-US" dirty="0"/>
              <a:t>As a result of these changes, networking and security teams struggle to…</a:t>
            </a:r>
            <a:endParaRPr lang="en-US" dirty="0">
              <a:solidFill>
                <a:schemeClr val="tx2"/>
              </a:solidFill>
              <a:latin typeface="CiscoSansTT" panose="020B0503020201020303" pitchFamily="34" charset="0"/>
              <a:cs typeface="CiscoSansTT ExtraLight" panose="020B0303020201020303" pitchFamily="34" charset="0"/>
            </a:endParaRPr>
          </a:p>
          <a:p>
            <a:pPr lvl="0">
              <a:defRPr/>
            </a:pPr>
            <a:endParaRPr lang="en-US" dirty="0">
              <a:solidFill>
                <a:schemeClr val="tx2"/>
              </a:solidFill>
              <a:latin typeface="CiscoSansTT" panose="020B0503020201020303" pitchFamily="34" charset="0"/>
              <a:cs typeface="CiscoSansTT ExtraLight" panose="020B0303020201020303" pitchFamily="34" charset="0"/>
            </a:endParaRPr>
          </a:p>
          <a:p>
            <a:pPr lvl="0">
              <a:defRPr/>
            </a:pPr>
            <a:r>
              <a:rPr lang="en-US" dirty="0">
                <a:solidFill>
                  <a:schemeClr val="tx2"/>
                </a:solidFill>
                <a:latin typeface="CiscoSansTT" panose="020B0503020201020303" pitchFamily="34" charset="0"/>
                <a:cs typeface="CiscoSansTT ExtraLight" panose="020B0303020201020303" pitchFamily="34" charset="0"/>
              </a:rPr>
              <a:t>1) Connect users to </a:t>
            </a:r>
            <a:r>
              <a:rPr lang="en-US" dirty="0">
                <a:solidFill>
                  <a:schemeClr val="tx2"/>
                </a:solidFill>
                <a:latin typeface="CiscoSansTT ExtraLight"/>
                <a:cs typeface="CiscoSansTT ExtraLight" panose="020B0303020201020303" pitchFamily="34" charset="0"/>
              </a:rPr>
              <a:t>applications and data</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Poor user experience when accessing cloud apps</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Complexity in connecting to multiple cloud providers</a:t>
            </a:r>
          </a:p>
          <a:p>
            <a:pPr lvl="0">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 2) </a:t>
            </a:r>
            <a:r>
              <a:rPr lang="en-US" dirty="0">
                <a:solidFill>
                  <a:schemeClr val="tx2"/>
                </a:solidFill>
                <a:latin typeface="CiscoSansTT" panose="020B0503020201020303" pitchFamily="34" charset="0"/>
                <a:cs typeface="CiscoSansTT ExtraLight" panose="020B0303020201020303" pitchFamily="34" charset="0"/>
              </a:rPr>
              <a:t>protect against </a:t>
            </a:r>
            <a:r>
              <a:rPr lang="en-US" dirty="0">
                <a:solidFill>
                  <a:schemeClr val="tx2"/>
                </a:solidFill>
                <a:latin typeface="+mn-lt"/>
                <a:cs typeface="CiscoSansTT ExtraLight" panose="020B0303020201020303" pitchFamily="34" charset="0"/>
              </a:rPr>
              <a:t>evolving threat vectors</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Gaps in security protection </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Inconsistent policies enforced across disparate locations</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Difficult to verify identity of users and devices </a:t>
            </a:r>
          </a:p>
          <a:p>
            <a:pPr marL="228600" lvl="0" indent="-219456">
              <a:spcBef>
                <a:spcPts val="600"/>
              </a:spcBef>
              <a:spcAft>
                <a:spcPts val="0"/>
              </a:spcAft>
              <a:buSzPct val="80000"/>
              <a:buFont typeface="Arial" panose="020B0604020202020204" pitchFamily="34" charset="0"/>
              <a:buChar char="•"/>
            </a:pPr>
            <a:r>
              <a:rPr lang="en-US" sz="1200" dirty="0">
                <a:solidFill>
                  <a:srgbClr val="282828"/>
                </a:solidFill>
                <a:latin typeface="CiscoSansTT ExtraLight"/>
              </a:rPr>
              <a:t>Too much complexity in managing multiple siloed solutions, different panes of glass, different sets of policies which leads to errors, overlapping teams/functionality, potential holes in security</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3) Deliver high quality user experience</a:t>
            </a:r>
          </a:p>
          <a:p>
            <a:pPr marL="285750" indent="-285750">
              <a:spcBef>
                <a:spcPts val="600"/>
              </a:spcBef>
              <a:spcAft>
                <a:spcPts val="600"/>
              </a:spcAft>
              <a:buFont typeface="Arial" panose="020B0604020202020204" pitchFamily="34" charset="0"/>
              <a:buChar char="•"/>
              <a:defRPr/>
            </a:pPr>
            <a:r>
              <a:rPr lang="en-US" sz="1200" dirty="0">
                <a:solidFill>
                  <a:srgbClr val="282828"/>
                </a:solidFill>
                <a:latin typeface="CiscoSansTT ExtraLight"/>
              </a:rPr>
              <a:t>Lack end-to-end granular visibility</a:t>
            </a:r>
          </a:p>
          <a:p>
            <a:pPr marL="285750" indent="-285750">
              <a:spcAft>
                <a:spcPts val="600"/>
              </a:spcAft>
              <a:buFont typeface="Arial" panose="020B0604020202020204" pitchFamily="34" charset="0"/>
              <a:buChar char="•"/>
              <a:defRPr/>
            </a:pPr>
            <a:r>
              <a:rPr lang="en-US" sz="1200" dirty="0">
                <a:solidFill>
                  <a:srgbClr val="282828"/>
                </a:solidFill>
                <a:latin typeface="CiscoSansTT ExtraLight"/>
              </a:rPr>
              <a:t>Challenging to isolate and resolve performance issues across internet, cloud, and SaaS</a:t>
            </a:r>
          </a:p>
          <a:p>
            <a:pPr marL="285750" indent="-285750">
              <a:spcAft>
                <a:spcPts val="600"/>
              </a:spcAft>
              <a:buFont typeface="Arial" panose="020B0604020202020204" pitchFamily="34" charset="0"/>
              <a:buChar char="•"/>
              <a:defRPr/>
            </a:pPr>
            <a:r>
              <a:rPr lang="en-US" sz="1200" dirty="0">
                <a:solidFill>
                  <a:srgbClr val="282828"/>
                </a:solidFill>
                <a:latin typeface="CiscoSansTT ExtraLight"/>
              </a:rPr>
              <a:t>Unable to get escalations and enforce SL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0" fontAlgn="base" latinLnBrk="0" hangingPunct="0">
              <a:lnSpc>
                <a:spcPct val="107000"/>
              </a:lnSpc>
              <a:spcBef>
                <a:spcPts val="0"/>
              </a:spcBef>
              <a:spcAft>
                <a:spcPts val="800"/>
              </a:spcAft>
              <a:buClrTx/>
              <a:buSzTx/>
              <a:buFontTx/>
              <a:buNone/>
              <a:tabLst/>
              <a:defRPr/>
            </a:pPr>
            <a:r>
              <a:rPr lang="en-US" dirty="0">
                <a:solidFill>
                  <a:schemeClr val="tx2"/>
                </a:solidFill>
                <a:latin typeface="CiscoSansTT" panose="020B0503020201020303" pitchFamily="34" charset="0"/>
                <a:ea typeface=""/>
                <a:cs typeface="CiscoSansTT" panose="020B0503020201020303" pitchFamily="34" charset="0"/>
              </a:rPr>
              <a:t>This requires a new approach to networking, security, and monitoring…</a:t>
            </a:r>
          </a:p>
          <a:p>
            <a:endParaRPr lang="en-US" dirty="0"/>
          </a:p>
        </p:txBody>
      </p:sp>
    </p:spTree>
    <p:extLst>
      <p:ext uri="{BB962C8B-B14F-4D97-AF65-F5344CB8AC3E}">
        <p14:creationId xmlns:p14="http://schemas.microsoft.com/office/powerpoint/2010/main" val="27910777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kern="1200">
                <a:solidFill>
                  <a:schemeClr val="tx1"/>
                </a:solidFill>
                <a:effectLst/>
                <a:latin typeface="+mn-lt"/>
                <a:ea typeface="ＭＳ Ｐゴシック" charset="0"/>
                <a:cs typeface="ＭＳ Ｐゴシック" charset="0"/>
              </a:rPr>
              <a:t>Today’s cloud-centric world drives the need for a secure access service edge(SASE; pronounced “sassy”) architecture</a:t>
            </a:r>
          </a:p>
          <a:p>
            <a:pPr rtl="0" fontAlgn="base"/>
            <a:endParaRPr lang="en-US" sz="1200" b="0" i="0" kern="1200">
              <a:solidFill>
                <a:schemeClr val="tx1"/>
              </a:solidFill>
              <a:effectLst/>
              <a:latin typeface="+mn-lt"/>
              <a:ea typeface="ＭＳ Ｐゴシック" charset="0"/>
              <a:cs typeface="ＭＳ Ｐゴシック" charset="0"/>
            </a:endParaRPr>
          </a:p>
          <a:p>
            <a:pPr rtl="0" fontAlgn="base"/>
            <a:r>
              <a:rPr lang="en-US" sz="1200" b="0" i="0" kern="1200">
                <a:solidFill>
                  <a:schemeClr val="tx1"/>
                </a:solidFill>
                <a:effectLst/>
                <a:latin typeface="+mn-lt"/>
                <a:ea typeface="ＭＳ Ｐゴシック" charset="0"/>
                <a:cs typeface="ＭＳ Ｐゴシック" charset="0"/>
              </a:rPr>
              <a:t>What is SASE?  </a:t>
            </a:r>
          </a:p>
          <a:p>
            <a:pPr rtl="0" fontAlgn="base"/>
            <a:endParaRPr lang="en-US" sz="1200" b="0" i="0" kern="1200">
              <a:solidFill>
                <a:schemeClr val="tx1"/>
              </a:solidFill>
              <a:effectLst/>
              <a:latin typeface="+mn-lt"/>
              <a:ea typeface="ＭＳ Ｐゴシック" charset="0"/>
              <a:cs typeface="ＭＳ Ｐゴシック" charset="0"/>
            </a:endParaRPr>
          </a:p>
          <a:p>
            <a:pPr rtl="0" fontAlgn="base"/>
            <a:r>
              <a:rPr lang="en-US" sz="1200" b="0" i="0" kern="1200">
                <a:solidFill>
                  <a:schemeClr val="tx1"/>
                </a:solidFill>
                <a:effectLst/>
                <a:latin typeface="+mn-lt"/>
                <a:ea typeface="ＭＳ Ｐゴシック" charset="0"/>
                <a:cs typeface="ＭＳ Ｐゴシック" charset="0"/>
              </a:rPr>
              <a:t>Secure access service edge (SASE) combines networking and security functions in the cloud to deliver secure access to applications, anywhere users work. The core functions include software-defined wide area network (SD-WAN), firewall as a service, secure web gateway (SWG)s, cloud access security broker (CASB), and zero trust network access (ZTNA). The goal of the SASE model is to consolidate these functions—which were traditionally delivered in siloed point solutions—in a single, integrated cloud service.   </a:t>
            </a:r>
          </a:p>
          <a:p>
            <a:pPr rtl="0" fontAlgn="base"/>
            <a:r>
              <a:rPr lang="en-US" sz="1200" b="0" i="0" kern="1200">
                <a:solidFill>
                  <a:schemeClr val="tx1"/>
                </a:solidFill>
                <a:effectLst/>
                <a:latin typeface="+mn-lt"/>
                <a:ea typeface="ＭＳ Ｐゴシック" charset="0"/>
                <a:cs typeface="ＭＳ Ｐゴシック" charset="0"/>
              </a:rPr>
              <a:t>SASE helps organizations: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kern="1200">
                <a:solidFill>
                  <a:schemeClr val="tx1"/>
                </a:solidFill>
                <a:effectLst/>
                <a:latin typeface="+mn-lt"/>
                <a:ea typeface="ＭＳ Ｐゴシック" charset="0"/>
                <a:cs typeface="ＭＳ Ｐゴシック" charset="0"/>
              </a:rPr>
              <a:t>Combine networking and security functions to deliver secure connectivity as a service </a:t>
            </a:r>
          </a:p>
          <a:p>
            <a:pPr marL="171450" indent="-171450" rtl="0" fontAlgn="base">
              <a:buFont typeface="Arial" panose="020B0604020202020204" pitchFamily="34" charset="0"/>
              <a:buChar char="•"/>
            </a:pPr>
            <a:r>
              <a:rPr lang="en-US" sz="1200" b="0" i="0" kern="1200">
                <a:solidFill>
                  <a:schemeClr val="tx1"/>
                </a:solidFill>
                <a:effectLst/>
                <a:latin typeface="+mn-lt"/>
                <a:ea typeface="ＭＳ Ｐゴシック" charset="0"/>
                <a:cs typeface="ＭＳ Ｐゴシック" charset="0"/>
              </a:rPr>
              <a:t>Connect users seamlessly to the applications and data they need to access — in any environment, from any location </a:t>
            </a:r>
          </a:p>
          <a:p>
            <a:pPr marL="171450" indent="-171450" rtl="0" fontAlgn="base">
              <a:buFont typeface="Arial" panose="020B0604020202020204" pitchFamily="34" charset="0"/>
              <a:buChar char="•"/>
            </a:pPr>
            <a:r>
              <a:rPr lang="en-US" sz="1200" b="0" i="0" kern="1200">
                <a:solidFill>
                  <a:schemeClr val="tx1"/>
                </a:solidFill>
                <a:effectLst/>
                <a:latin typeface="+mn-lt"/>
                <a:ea typeface="ＭＳ Ｐゴシック" charset="0"/>
                <a:cs typeface="ＭＳ Ｐゴシック" charset="0"/>
              </a:rPr>
              <a:t>Control access and enforce the right security protection anywhere users work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90613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850159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None/>
            </a:pPr>
            <a:r>
              <a:rPr lang="en-US" sz="1200" dirty="0">
                <a:latin typeface="Calibri"/>
                <a:ea typeface="Calibri"/>
                <a:cs typeface="Calibri"/>
                <a:sym typeface="Calibri"/>
              </a:rPr>
              <a:t>When you compare traditional security approaches to a zero-trust approach, you will find that:</a:t>
            </a: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latin typeface="Calibri"/>
                <a:ea typeface="Calibri"/>
                <a:cs typeface="Calibri"/>
                <a:sym typeface="Calibri"/>
              </a:rPr>
              <a:t>- In the old approach, trust is based solely on the network location the access request originates from</a:t>
            </a: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latin typeface="Calibri"/>
                <a:ea typeface="Calibri"/>
                <a:cs typeface="Calibri"/>
                <a:sym typeface="Calibri"/>
              </a:rPr>
              <a:t>- In a zero-trust approach, trust is more dynamic and adaptive. It's established for every access request, no matter where it comes from.</a:t>
            </a: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latin typeface="Calibri"/>
                <a:ea typeface="Calibri"/>
                <a:cs typeface="Calibri"/>
                <a:sym typeface="Calibri"/>
              </a:rPr>
              <a:t>This approach prevents attackers from moving laterally within your network to get to your data – it secures access across your apps and networks, and only allows the right users and devices to get access.</a:t>
            </a: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solidFill>
                  <a:srgbClr val="444444"/>
                </a:solidFill>
                <a:latin typeface="Calibri"/>
                <a:ea typeface="Calibri"/>
                <a:cs typeface="Calibri"/>
                <a:sym typeface="Calibri"/>
              </a:rPr>
              <a:t>​</a:t>
            </a:r>
          </a:p>
          <a:p>
            <a:pPr marL="0" lvl="0" indent="0" algn="l" rtl="0">
              <a:lnSpc>
                <a:spcPct val="115000"/>
              </a:lnSpc>
              <a:spcBef>
                <a:spcPts val="0"/>
              </a:spcBef>
              <a:spcAft>
                <a:spcPts val="0"/>
              </a:spcAft>
              <a:buNone/>
            </a:pPr>
            <a:r>
              <a:rPr lang="en-US" sz="1200" dirty="0">
                <a:latin typeface="Calibri"/>
                <a:ea typeface="Calibri"/>
                <a:cs typeface="Calibri"/>
                <a:sym typeface="Calibri"/>
              </a:rPr>
              <a:t>In addition to a better access security, a zero-trust approach also supports modern enterprise models with BYOD, cloud apps, hybrid cloud/on-premises environments and more.</a:t>
            </a:r>
            <a:r>
              <a:rPr lang="en-US" sz="1200" dirty="0">
                <a:solidFill>
                  <a:srgbClr val="444444"/>
                </a:solidFill>
                <a:latin typeface="Calibri"/>
                <a:ea typeface="Calibri"/>
                <a:cs typeface="Calibri"/>
                <a:sym typeface="Calibri"/>
              </a:rPr>
              <a: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081AF-5D1A-43F8-93E1-457734734C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46798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ＭＳ Ｐゴシック" charset="0"/>
                <a:cs typeface="ＭＳ Ｐゴシック" charset="0"/>
              </a:rPr>
              <a:t>Security is not a one-size-fits-all proposition, even within the same enterprise environment. When approaching security design using the zero trust model it is easier to break adoption down into these three pillars: the workforce, workload, and workplace</a:t>
            </a:r>
            <a:r>
              <a:rPr lang="en-US">
                <a:effectLst/>
              </a:rPr>
              <a:t> </a:t>
            </a:r>
          </a:p>
          <a:p>
            <a:endParaRPr lang="en-US">
              <a:effectLst/>
            </a:endParaRPr>
          </a:p>
          <a:p>
            <a:r>
              <a:rPr lang="en-US" sz="1200" kern="1200">
                <a:solidFill>
                  <a:schemeClr val="tx1"/>
                </a:solidFill>
                <a:effectLst/>
                <a:latin typeface="+mn-lt"/>
                <a:ea typeface="ＭＳ Ｐゴシック" charset="0"/>
                <a:cs typeface="ＭＳ Ｐゴシック" charset="0"/>
              </a:rPr>
              <a:t>A zero-trust approach doesn’t require a complete reinvention of the infrastructure. The most successful solutions should seamlessly integrate without entirely replacing existing investments</a:t>
            </a:r>
            <a:r>
              <a:rPr lang="en-US">
                <a:effectLst/>
              </a:rPr>
              <a:t> </a:t>
            </a:r>
          </a:p>
          <a:p>
            <a:endParaRPr lang="en-US">
              <a:effectLst/>
            </a:endParaRPr>
          </a:p>
          <a:p>
            <a:pPr lvl="0"/>
            <a:r>
              <a:rPr lang="en-US" sz="1200" u="none" strike="noStrike" kern="1200">
                <a:solidFill>
                  <a:schemeClr val="tx1"/>
                </a:solidFill>
                <a:effectLst/>
                <a:latin typeface="+mn-lt"/>
                <a:ea typeface="ＭＳ Ｐゴシック" charset="0"/>
                <a:cs typeface="ＭＳ Ｐゴシック" charset="0"/>
              </a:rPr>
              <a:t>To protect the </a:t>
            </a:r>
            <a:r>
              <a:rPr lang="en-US" sz="1200" b="1" u="none" strike="noStrike" kern="1200">
                <a:solidFill>
                  <a:schemeClr val="tx1"/>
                </a:solidFill>
                <a:effectLst/>
                <a:latin typeface="+mn-lt"/>
                <a:ea typeface="ＭＳ Ｐゴシック" charset="0"/>
                <a:cs typeface="ＭＳ Ｐゴシック" charset="0"/>
              </a:rPr>
              <a:t>workforce</a:t>
            </a:r>
            <a:r>
              <a:rPr lang="en-US" sz="1200" u="none" strike="noStrike" kern="1200">
                <a:solidFill>
                  <a:schemeClr val="tx1"/>
                </a:solidFill>
                <a:effectLst/>
                <a:latin typeface="+mn-lt"/>
                <a:ea typeface="ＭＳ Ｐゴシック" charset="0"/>
                <a:cs typeface="ＭＳ Ｐゴシック" charset="0"/>
              </a:rPr>
              <a:t>, Cisco ensures only the right users and secure devices can access applications. Protect against phishing, compromised credentials or other identity-based attacks.</a:t>
            </a:r>
          </a:p>
          <a:p>
            <a:pPr lvl="0"/>
            <a:endParaRPr lang="en-US" sz="1200" u="none" strike="noStrike" kern="1200">
              <a:solidFill>
                <a:schemeClr val="tx1"/>
              </a:solidFill>
              <a:effectLst/>
              <a:latin typeface="+mn-lt"/>
              <a:ea typeface="ＭＳ Ｐゴシック" charset="0"/>
              <a:cs typeface="ＭＳ Ｐゴシック" charset="0"/>
            </a:endParaRPr>
          </a:p>
          <a:p>
            <a:pPr lvl="0"/>
            <a:r>
              <a:rPr lang="en-US" sz="1200" u="none" strike="noStrike" kern="1200">
                <a:solidFill>
                  <a:schemeClr val="tx1"/>
                </a:solidFill>
                <a:effectLst/>
                <a:latin typeface="+mn-lt"/>
                <a:ea typeface="ＭＳ Ｐゴシック" charset="0"/>
                <a:cs typeface="ＭＳ Ｐゴシック" charset="0"/>
              </a:rPr>
              <a:t>To protect </a:t>
            </a:r>
            <a:r>
              <a:rPr lang="en-US" sz="1200" b="1" u="none" strike="noStrike" kern="1200">
                <a:solidFill>
                  <a:schemeClr val="tx1"/>
                </a:solidFill>
                <a:effectLst/>
                <a:latin typeface="+mn-lt"/>
                <a:ea typeface="ＭＳ Ｐゴシック" charset="0"/>
                <a:cs typeface="ＭＳ Ｐゴシック" charset="0"/>
              </a:rPr>
              <a:t>workloads</a:t>
            </a:r>
            <a:r>
              <a:rPr lang="en-US" sz="1200" u="none" strike="noStrike" kern="1200">
                <a:solidFill>
                  <a:schemeClr val="tx1"/>
                </a:solidFill>
                <a:effectLst/>
                <a:latin typeface="+mn-lt"/>
                <a:ea typeface="ＭＳ Ｐゴシック" charset="0"/>
                <a:cs typeface="ＭＳ Ｐゴシック" charset="0"/>
              </a:rPr>
              <a:t>, Cisco secures hybrid, multi-cloud workloads and contains lateral movement of attacks through micro-segmentation. Continuously monitors and detects software vulnerabilities and blocks communication to reduce the overall attack surface.</a:t>
            </a:r>
          </a:p>
          <a:p>
            <a:pPr lvl="0"/>
            <a:endParaRPr lang="en-US" sz="1200" u="none" strike="noStrike" kern="1200">
              <a:solidFill>
                <a:schemeClr val="tx1"/>
              </a:solidFill>
              <a:effectLst/>
              <a:latin typeface="+mn-lt"/>
              <a:ea typeface="ＭＳ Ｐゴシック" charset="0"/>
              <a:cs typeface="ＭＳ Ｐゴシック" charset="0"/>
            </a:endParaRPr>
          </a:p>
          <a:p>
            <a:pPr lvl="0"/>
            <a:r>
              <a:rPr lang="en-US" sz="1200" u="none" strike="noStrike" kern="1200">
                <a:solidFill>
                  <a:schemeClr val="tx1"/>
                </a:solidFill>
                <a:effectLst/>
                <a:latin typeface="+mn-lt"/>
                <a:ea typeface="ＭＳ Ｐゴシック" charset="0"/>
                <a:cs typeface="ＭＳ Ｐゴシック" charset="0"/>
              </a:rPr>
              <a:t>To protect the </a:t>
            </a:r>
            <a:r>
              <a:rPr lang="en-US" sz="1200" b="1" u="none" strike="noStrike" kern="1200">
                <a:solidFill>
                  <a:schemeClr val="tx1"/>
                </a:solidFill>
                <a:effectLst/>
                <a:latin typeface="+mn-lt"/>
                <a:ea typeface="ＭＳ Ｐゴシック" charset="0"/>
                <a:cs typeface="ＭＳ Ｐゴシック" charset="0"/>
              </a:rPr>
              <a:t>workplace</a:t>
            </a:r>
            <a:r>
              <a:rPr lang="en-US" sz="1200" u="none" strike="noStrike" kern="1200">
                <a:solidFill>
                  <a:schemeClr val="tx1"/>
                </a:solidFill>
                <a:effectLst/>
                <a:latin typeface="+mn-lt"/>
                <a:ea typeface="ＭＳ Ｐゴシック" charset="0"/>
                <a:cs typeface="ＭＳ Ｐゴシック" charset="0"/>
              </a:rPr>
              <a:t>, Cisco provides insight into users and devices, identify threats and maintain control over all connections over your network, including Internet of Things (IoT) devices</a:t>
            </a:r>
          </a:p>
          <a:p>
            <a:r>
              <a:rPr lang="en-US" sz="1200" kern="1200">
                <a:solidFill>
                  <a:schemeClr val="tx1"/>
                </a:solidFill>
                <a:effectLst/>
                <a:latin typeface="+mn-lt"/>
                <a:ea typeface="ＭＳ Ｐゴシック" charset="0"/>
                <a:cs typeface="ＭＳ Ｐゴシック" charset="0"/>
              </a:rPr>
              <a:t> </a:t>
            </a:r>
          </a:p>
          <a:p>
            <a:r>
              <a:rPr lang="en-US" sz="1200" kern="1200">
                <a:solidFill>
                  <a:schemeClr val="tx1"/>
                </a:solidFill>
                <a:effectLst/>
                <a:latin typeface="+mn-lt"/>
                <a:ea typeface="ＭＳ Ｐゴシック" charset="0"/>
                <a:cs typeface="ＭＳ Ｐゴシック" charset="0"/>
              </a:rPr>
              <a:t>This complete zero-trust security model allows you to mitigate, detect and respond to risks across your environment.</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05887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5"/>
        <p:cNvGrpSpPr/>
        <p:nvPr/>
      </p:nvGrpSpPr>
      <p:grpSpPr>
        <a:xfrm>
          <a:off x="0" y="0"/>
          <a:ext cx="0" cy="0"/>
          <a:chOff x="0" y="0"/>
          <a:chExt cx="0" cy="0"/>
        </a:xfrm>
      </p:grpSpPr>
      <p:sp>
        <p:nvSpPr>
          <p:cNvPr id="1556" name="Google Shape;1556;g488b59fef4_2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7" name="Google Shape;1557;g488b59fef4_2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latin typeface="Helvetica Neue" panose="02000503000000020004" pitchFamily="2"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lvl="0" indent="0" algn="l" rtl="0">
              <a:lnSpc>
                <a:spcPct val="100000"/>
              </a:lnSpc>
              <a:spcBef>
                <a:spcPts val="0"/>
              </a:spcBef>
              <a:spcAft>
                <a:spcPts val="0"/>
              </a:spcAft>
              <a:buSzPts val="1100"/>
              <a:buNone/>
            </a:pPr>
            <a:r>
              <a:rPr lang="en-US" sz="1100" u="sng" strike="noStrike" cap="none" dirty="0">
                <a:solidFill>
                  <a:srgbClr val="000000"/>
                </a:solidFill>
                <a:latin typeface="Helvetica Neue" panose="02000503000000020004" pitchFamily="2" charset="0"/>
                <a:sym typeface="Arial"/>
              </a:rPr>
              <a:t>Objective:</a:t>
            </a:r>
            <a:r>
              <a:rPr lang="en-US" sz="1100" u="none" strike="noStrike" cap="none" dirty="0">
                <a:solidFill>
                  <a:srgbClr val="000000"/>
                </a:solidFill>
                <a:latin typeface="Helvetica Neue" panose="02000503000000020004" pitchFamily="2" charset="0"/>
                <a:sym typeface="Arial"/>
              </a:rPr>
              <a:t> Validate if the prospect has a compliance driver? If so, which one?</a:t>
            </a:r>
            <a:endParaRPr lang="en-US" sz="1100" dirty="0">
              <a:latin typeface="Helvetica Neue" panose="02000503000000020004" pitchFamily="2" charset="0"/>
              <a:sym typeface="Arial"/>
            </a:endParaRPr>
          </a:p>
          <a:p>
            <a:pPr marL="158750" lvl="0" indent="0" algn="l" rtl="0">
              <a:lnSpc>
                <a:spcPct val="100000"/>
              </a:lnSpc>
              <a:spcBef>
                <a:spcPts val="0"/>
              </a:spcBef>
              <a:spcAft>
                <a:spcPts val="0"/>
              </a:spcAft>
              <a:buSzPts val="1100"/>
              <a:buNone/>
            </a:pPr>
            <a:r>
              <a:rPr lang="en-US" sz="1100" u="none" strike="noStrike" cap="none" dirty="0">
                <a:solidFill>
                  <a:srgbClr val="000000"/>
                </a:solidFill>
                <a:latin typeface="Helvetica Neue" panose="02000503000000020004" pitchFamily="2" charset="0"/>
                <a:sym typeface="Arial"/>
              </a:rPr>
              <a:t> </a:t>
            </a:r>
            <a:endParaRPr lang="en-US" sz="1100" dirty="0">
              <a:latin typeface="Helvetica Neue" panose="02000503000000020004" pitchFamily="2" charset="0"/>
              <a:sym typeface="Arial"/>
            </a:endParaRPr>
          </a:p>
          <a:p>
            <a:pPr marL="158750" lvl="0" indent="0" algn="l" rtl="0">
              <a:lnSpc>
                <a:spcPct val="100000"/>
              </a:lnSpc>
              <a:spcBef>
                <a:spcPts val="0"/>
              </a:spcBef>
              <a:spcAft>
                <a:spcPts val="0"/>
              </a:spcAft>
              <a:buSzPts val="1100"/>
              <a:buNone/>
            </a:pPr>
            <a:r>
              <a:rPr lang="en-US" sz="1100" u="sng" strike="noStrike" cap="none" dirty="0">
                <a:solidFill>
                  <a:srgbClr val="000000"/>
                </a:solidFill>
                <a:latin typeface="Helvetica Neue" panose="02000503000000020004" pitchFamily="2" charset="0"/>
                <a:sym typeface="Arial"/>
              </a:rPr>
              <a:t>Key talking points: </a:t>
            </a:r>
            <a:endParaRPr lang="en-US" sz="1100" dirty="0">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MFA or user authentication is a requirement or best practice in every major compliance requirement or security framework </a:t>
            </a:r>
            <a:endParaRPr lang="en-US" sz="1100" u="none" strike="noStrike" dirty="0">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Ask your customer:</a:t>
            </a:r>
            <a:endParaRPr lang="en-US" sz="1100" u="none" strike="noStrike" dirty="0">
              <a:latin typeface="Helvetica Neue" panose="02000503000000020004" pitchFamily="2" charset="0"/>
              <a:sym typeface="Arial"/>
            </a:endParaRPr>
          </a:p>
          <a:p>
            <a:pPr marL="914400" lvl="1"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What compliance requirements do you have to comply with? </a:t>
            </a:r>
            <a:endParaRPr lang="en-US" sz="1100" u="none" strike="noStrike" dirty="0">
              <a:latin typeface="Helvetica Neue" panose="02000503000000020004" pitchFamily="2" charset="0"/>
              <a:sym typeface="Arial"/>
            </a:endParaRPr>
          </a:p>
          <a:p>
            <a:pPr marL="914400" lvl="1"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Are there MFA requirements in your compliance framework? </a:t>
            </a:r>
            <a:endParaRPr lang="en-US" sz="1100" u="none" strike="noStrike" dirty="0">
              <a:latin typeface="Helvetica Neue" panose="02000503000000020004" pitchFamily="2" charset="0"/>
              <a:sym typeface="Arial"/>
            </a:endParaRPr>
          </a:p>
          <a:p>
            <a:pPr marL="914400" lvl="1"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Have you conducted a security audit or </a:t>
            </a:r>
            <a:r>
              <a:rPr lang="en-US" sz="1100" u="none" strike="noStrike" cap="none" dirty="0" err="1">
                <a:solidFill>
                  <a:srgbClr val="000000"/>
                </a:solidFill>
                <a:latin typeface="Helvetica Neue" panose="02000503000000020004" pitchFamily="2" charset="0"/>
                <a:sym typeface="Arial"/>
              </a:rPr>
              <a:t>pentest</a:t>
            </a:r>
            <a:r>
              <a:rPr lang="en-US" sz="1100" u="none" strike="noStrike" cap="none" dirty="0">
                <a:solidFill>
                  <a:srgbClr val="000000"/>
                </a:solidFill>
                <a:latin typeface="Helvetica Neue" panose="02000503000000020004" pitchFamily="2" charset="0"/>
                <a:sym typeface="Arial"/>
              </a:rPr>
              <a:t> recently? What were the findings on user access controls</a:t>
            </a:r>
            <a:endParaRPr lang="en-US" sz="1100" u="none" strike="noStrike" dirty="0">
              <a:latin typeface="Helvetica Neue" panose="02000503000000020004" pitchFamily="2" charset="0"/>
              <a:sym typeface="Aria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081AF-5D1A-43F8-93E1-457734734CA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73268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6"/>
        <p:cNvGrpSpPr/>
        <p:nvPr/>
      </p:nvGrpSpPr>
      <p:grpSpPr>
        <a:xfrm>
          <a:off x="0" y="0"/>
          <a:ext cx="0" cy="0"/>
          <a:chOff x="0" y="0"/>
          <a:chExt cx="0" cy="0"/>
        </a:xfrm>
      </p:grpSpPr>
      <p:sp>
        <p:nvSpPr>
          <p:cNvPr id="1597" name="Google Shape;1597;g48848f84f8_4_5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98" name="Google Shape;1598;g48848f84f8_4_5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lvl="0" indent="0" algn="l" rtl="0">
              <a:lnSpc>
                <a:spcPct val="100000"/>
              </a:lnSpc>
              <a:spcBef>
                <a:spcPts val="0"/>
              </a:spcBef>
              <a:spcAft>
                <a:spcPts val="0"/>
              </a:spcAft>
              <a:buSzPts val="1100"/>
              <a:buNone/>
            </a:pPr>
            <a:r>
              <a:rPr lang="en-US" sz="1100" u="sng" strike="noStrike" cap="none" dirty="0">
                <a:solidFill>
                  <a:srgbClr val="000000"/>
                </a:solidFill>
                <a:latin typeface="Helvetica Neue" panose="02000503000000020004" pitchFamily="2" charset="0"/>
                <a:sym typeface="Arial"/>
              </a:rPr>
              <a:t>Objective: </a:t>
            </a:r>
            <a:r>
              <a:rPr lang="en-US" sz="1100" u="none" strike="noStrike" cap="none" dirty="0">
                <a:solidFill>
                  <a:srgbClr val="000000"/>
                </a:solidFill>
                <a:latin typeface="Helvetica Neue" panose="02000503000000020004" pitchFamily="2" charset="0"/>
                <a:sym typeface="Arial"/>
              </a:rPr>
              <a:t>Summarize how Duo can protect all applications + confirm priority for applications they want integrated with Duo</a:t>
            </a:r>
            <a:endParaRPr sz="1100" dirty="0">
              <a:latin typeface="Helvetica Neue" panose="02000503000000020004" pitchFamily="2" charset="0"/>
              <a:sym typeface="Arial"/>
            </a:endParaRPr>
          </a:p>
          <a:p>
            <a:pPr marL="158750" lvl="0" indent="0" algn="l" rtl="0">
              <a:lnSpc>
                <a:spcPct val="100000"/>
              </a:lnSpc>
              <a:spcBef>
                <a:spcPts val="0"/>
              </a:spcBef>
              <a:spcAft>
                <a:spcPts val="0"/>
              </a:spcAft>
              <a:buSzPts val="1100"/>
              <a:buNone/>
            </a:pPr>
            <a:r>
              <a:rPr lang="en-US" sz="1100" u="none" strike="noStrike" cap="none" dirty="0">
                <a:solidFill>
                  <a:srgbClr val="000000"/>
                </a:solidFill>
                <a:latin typeface="Helvetica Neue" panose="02000503000000020004" pitchFamily="2" charset="0"/>
                <a:sym typeface="Arial"/>
              </a:rPr>
              <a:t> </a:t>
            </a:r>
            <a:endParaRPr sz="1100" dirty="0">
              <a:latin typeface="Helvetica Neue" panose="02000503000000020004" pitchFamily="2" charset="0"/>
              <a:sym typeface="Arial"/>
            </a:endParaRPr>
          </a:p>
          <a:p>
            <a:pPr marL="158750" lvl="0" indent="0" algn="l" rtl="0">
              <a:lnSpc>
                <a:spcPct val="100000"/>
              </a:lnSpc>
              <a:spcBef>
                <a:spcPts val="0"/>
              </a:spcBef>
              <a:spcAft>
                <a:spcPts val="0"/>
              </a:spcAft>
              <a:buSzPts val="1100"/>
              <a:buNone/>
            </a:pPr>
            <a:r>
              <a:rPr lang="en-US" sz="1100" u="sng" strike="noStrike" cap="none" dirty="0">
                <a:solidFill>
                  <a:srgbClr val="000000"/>
                </a:solidFill>
                <a:latin typeface="Helvetica Neue" panose="02000503000000020004" pitchFamily="2" charset="0"/>
                <a:sym typeface="Arial"/>
              </a:rPr>
              <a:t>Key talking points:</a:t>
            </a:r>
            <a:endParaRPr sz="1100" dirty="0">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Duo is incredibly easy to deploy across all types of applications (cloud/on-premises)</a:t>
            </a:r>
            <a:endParaRPr sz="1100" dirty="0">
              <a:solidFill>
                <a:srgbClr val="000000"/>
              </a:solidFill>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Start with out-of-the-box integration with VPNs, Email, and cloud applications.</a:t>
            </a:r>
            <a:endParaRPr sz="1100" dirty="0">
              <a:solidFill>
                <a:srgbClr val="000000"/>
              </a:solidFill>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Then, continue with other Microsoft apps, RDP, SSH, and on-prem apps.</a:t>
            </a:r>
            <a:endParaRPr sz="1100" dirty="0">
              <a:solidFill>
                <a:srgbClr val="000000"/>
              </a:solidFill>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Integration guides, step-by-step instructions and videos are available to customers at duo.com/docs page</a:t>
            </a:r>
            <a:endParaRPr sz="1100" dirty="0">
              <a:solidFill>
                <a:srgbClr val="000000"/>
              </a:solidFill>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Duo doesn’t license per application</a:t>
            </a:r>
            <a:endParaRPr sz="1100" dirty="0">
              <a:solidFill>
                <a:srgbClr val="000000"/>
              </a:solidFill>
              <a:latin typeface="Helvetica Neue" panose="02000503000000020004" pitchFamily="2" charset="0"/>
              <a:sym typeface="Arial"/>
            </a:endParaRPr>
          </a:p>
          <a:p>
            <a:pPr marL="457200" lvl="0" indent="-298450" algn="l" rtl="0">
              <a:lnSpc>
                <a:spcPct val="100000"/>
              </a:lnSpc>
              <a:spcBef>
                <a:spcPts val="0"/>
              </a:spcBef>
              <a:spcAft>
                <a:spcPts val="0"/>
              </a:spcAft>
              <a:buSzPts val="1100"/>
              <a:buChar char="●"/>
            </a:pPr>
            <a:r>
              <a:rPr lang="en-US" sz="1100" u="none" strike="noStrike" cap="none" dirty="0">
                <a:solidFill>
                  <a:srgbClr val="000000"/>
                </a:solidFill>
                <a:latin typeface="Helvetica Neue" panose="02000503000000020004" pitchFamily="2" charset="0"/>
                <a:sym typeface="Arial"/>
              </a:rPr>
              <a:t>Customer story: Ohio State University (CISO): Went live with Duo in front of their HR Self Service portal. In less than a month 32,000 employees enrolled with Duo. The CISO said Duo has been one of the most successful project in IT (not just Security) at Ohio State. Both the President and Provost have personally commented on how easy it is to use Duo</a:t>
            </a:r>
            <a:endParaRPr sz="1100" dirty="0">
              <a:solidFill>
                <a:srgbClr val="000000"/>
              </a:solidFill>
              <a:latin typeface="Helvetica Neue" panose="02000503000000020004" pitchFamily="2" charset="0"/>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8B62F09-C5D4-47A5-854F-846DD4918DE4}" type="datetime9">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2021 11:52:2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s05</a:t>
            </a:r>
          </a:p>
        </p:txBody>
      </p:sp>
    </p:spTree>
    <p:extLst>
      <p:ext uri="{BB962C8B-B14F-4D97-AF65-F5344CB8AC3E}">
        <p14:creationId xmlns:p14="http://schemas.microsoft.com/office/powerpoint/2010/main" val="2255819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8B62F09-C5D4-47A5-854F-846DD4918DE4}" type="datetime9">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2021 11:52:20 AM</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s05</a:t>
            </a:r>
          </a:p>
        </p:txBody>
      </p:sp>
    </p:spTree>
    <p:extLst>
      <p:ext uri="{BB962C8B-B14F-4D97-AF65-F5344CB8AC3E}">
        <p14:creationId xmlns:p14="http://schemas.microsoft.com/office/powerpoint/2010/main" val="901217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6</a:t>
            </a:fld>
            <a:endParaRPr lang="en-US" dirty="0">
              <a:solidFill>
                <a:prstClr val="black"/>
              </a:solidFill>
            </a:endParaRPr>
          </a:p>
        </p:txBody>
      </p:sp>
      <p:sp>
        <p:nvSpPr>
          <p:cNvPr id="5" name="Date Placeholder 4"/>
          <p:cNvSpPr>
            <a:spLocks noGrp="1"/>
          </p:cNvSpPr>
          <p:nvPr>
            <p:ph type="dt" idx="11"/>
          </p:nvPr>
        </p:nvSpPr>
        <p:spPr/>
        <p:txBody>
          <a:bodyPr/>
          <a:lstStyle/>
          <a:p>
            <a:pPr>
              <a:defRPr/>
            </a:pPr>
            <a:fld id="{28B62F09-C5D4-47A5-854F-846DD4918DE4}" type="datetime9">
              <a:rPr lang="en-US" smtClean="0">
                <a:solidFill>
                  <a:prstClr val="black"/>
                </a:solidFill>
              </a:rPr>
              <a:pPr>
                <a:defRPr/>
              </a:pPr>
              <a:t>11/3/2021 11:52:20 AM</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a:solidFill>
                  <a:prstClr val="black"/>
                </a:solidFill>
              </a:rPr>
              <a:t>ss05</a:t>
            </a:r>
          </a:p>
        </p:txBody>
      </p:sp>
    </p:spTree>
    <p:extLst>
      <p:ext uri="{BB962C8B-B14F-4D97-AF65-F5344CB8AC3E}">
        <p14:creationId xmlns:p14="http://schemas.microsoft.com/office/powerpoint/2010/main" val="2433192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7</a:t>
            </a:fld>
            <a:endParaRPr lang="en-US" dirty="0">
              <a:solidFill>
                <a:prstClr val="black"/>
              </a:solidFill>
            </a:endParaRPr>
          </a:p>
        </p:txBody>
      </p:sp>
      <p:sp>
        <p:nvSpPr>
          <p:cNvPr id="5" name="Date Placeholder 4"/>
          <p:cNvSpPr>
            <a:spLocks noGrp="1"/>
          </p:cNvSpPr>
          <p:nvPr>
            <p:ph type="dt" idx="11"/>
          </p:nvPr>
        </p:nvSpPr>
        <p:spPr/>
        <p:txBody>
          <a:bodyPr/>
          <a:lstStyle/>
          <a:p>
            <a:pPr>
              <a:defRPr/>
            </a:pPr>
            <a:fld id="{28B62F09-C5D4-47A5-854F-846DD4918DE4}" type="datetime9">
              <a:rPr lang="en-US" smtClean="0">
                <a:solidFill>
                  <a:prstClr val="black"/>
                </a:solidFill>
              </a:rPr>
              <a:pPr>
                <a:defRPr/>
              </a:pPr>
              <a:t>11/3/2021 11:52:20 AM</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a:solidFill>
                  <a:prstClr val="black"/>
                </a:solidFill>
              </a:rPr>
              <a:t>ss05</a:t>
            </a:r>
          </a:p>
        </p:txBody>
      </p:sp>
    </p:spTree>
    <p:extLst>
      <p:ext uri="{BB962C8B-B14F-4D97-AF65-F5344CB8AC3E}">
        <p14:creationId xmlns:p14="http://schemas.microsoft.com/office/powerpoint/2010/main" val="799597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1 B number comes from Trend Micro: https://</a:t>
            </a:r>
            <a:r>
              <a:rPr lang="en-US" dirty="0" err="1"/>
              <a:t>www.trendmicro.com</a:t>
            </a:r>
            <a:r>
              <a:rPr lang="en-US" dirty="0"/>
              <a:t>/</a:t>
            </a:r>
            <a:r>
              <a:rPr lang="en-US" dirty="0" err="1"/>
              <a:t>vinfo</a:t>
            </a:r>
            <a:r>
              <a:rPr lang="en-US" dirty="0"/>
              <a:t>/us/security/research-and-analysis/predictions/2018 </a:t>
            </a:r>
          </a:p>
        </p:txBody>
      </p:sp>
      <p:sp>
        <p:nvSpPr>
          <p:cNvPr id="4" name="Slide Number Placeholder 3"/>
          <p:cNvSpPr>
            <a:spLocks noGrp="1"/>
          </p:cNvSpPr>
          <p:nvPr>
            <p:ph type="sldNum" sz="quarter" idx="10"/>
          </p:nvPr>
        </p:nvSpPr>
        <p:spPr/>
        <p:txBody>
          <a:bodyPr/>
          <a:lstStyle/>
          <a:p>
            <a:fld id="{F07AAA95-1603-C644-9478-D7D7201C415D}" type="slidenum">
              <a:rPr lang="en-US" smtClean="0"/>
              <a:t>8</a:t>
            </a:fld>
            <a:endParaRPr lang="en-US"/>
          </a:p>
        </p:txBody>
      </p:sp>
    </p:spTree>
    <p:extLst>
      <p:ext uri="{BB962C8B-B14F-4D97-AF65-F5344CB8AC3E}">
        <p14:creationId xmlns:p14="http://schemas.microsoft.com/office/powerpoint/2010/main" val="295052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err="1">
                <a:solidFill>
                  <a:schemeClr val="tx1"/>
                </a:solidFill>
                <a:effectLst/>
                <a:latin typeface="+mn-lt"/>
                <a:ea typeface="ＭＳ Ｐゴシック" charset="0"/>
                <a:cs typeface="ＭＳ Ｐゴシック" charset="0"/>
              </a:rPr>
              <a:t>Ov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amo</a:t>
            </a:r>
            <a:r>
              <a:rPr lang="en-US" sz="1200" b="0" kern="1200" baseline="0" dirty="0">
                <a:solidFill>
                  <a:schemeClr val="tx1"/>
                </a:solidFill>
                <a:effectLst/>
                <a:latin typeface="+mn-lt"/>
                <a:ea typeface="ＭＳ Ｐゴシック" charset="0"/>
                <a:cs typeface="ＭＳ Ｐゴシック" charset="0"/>
              </a:rPr>
              <a:t> 4 </a:t>
            </a:r>
            <a:r>
              <a:rPr lang="en-US" sz="1200" b="0" kern="1200" baseline="0" dirty="0" err="1">
                <a:solidFill>
                  <a:schemeClr val="tx1"/>
                </a:solidFill>
                <a:effectLst/>
                <a:latin typeface="+mn-lt"/>
                <a:ea typeface="ＭＳ Ｐゴシック" charset="0"/>
                <a:cs typeface="ＭＳ Ｐゴシック" charset="0"/>
              </a:rPr>
              <a:t>trenutn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aktual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vede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ci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jima</a:t>
            </a:r>
            <a:r>
              <a:rPr lang="en-US" sz="1200" b="0" kern="1200" baseline="0" dirty="0">
                <a:solidFill>
                  <a:schemeClr val="tx1"/>
                </a:solidFill>
                <a:effectLst/>
                <a:latin typeface="+mn-lt"/>
                <a:ea typeface="ＭＳ Ｐゴシック" charset="0"/>
                <a:cs typeface="ＭＳ Ｐゴシック" charset="0"/>
              </a:rPr>
              <a:t> se </a:t>
            </a:r>
            <a:r>
              <a:rPr lang="en-US" sz="1200" b="0" kern="1200" baseline="0" dirty="0" err="1">
                <a:solidFill>
                  <a:schemeClr val="tx1"/>
                </a:solidFill>
                <a:effectLst/>
                <a:latin typeface="+mn-lt"/>
                <a:ea typeface="ＭＳ Ｐゴシック" charset="0"/>
                <a:cs typeface="ＭＳ Ｐゴシック" charset="0"/>
              </a:rPr>
              <a:t>moze</a:t>
            </a:r>
            <a:r>
              <a:rPr lang="en-US" sz="1200" b="0" kern="1200" baseline="0" dirty="0">
                <a:solidFill>
                  <a:schemeClr val="tx1"/>
                </a:solidFill>
                <a:effectLst/>
                <a:latin typeface="+mn-lt"/>
                <a:ea typeface="ＭＳ Ｐゴシック" charset="0"/>
                <a:cs typeface="ＭＳ Ｐゴシック" charset="0"/>
              </a:rPr>
              <a:t> mail. </a:t>
            </a:r>
            <a:r>
              <a:rPr lang="en-US" sz="1200" b="0" kern="1200" baseline="0" dirty="0" err="1">
                <a:solidFill>
                  <a:schemeClr val="tx1"/>
                </a:solidFill>
                <a:effectLst/>
                <a:latin typeface="+mn-lt"/>
                <a:ea typeface="ＭＳ Ｐゴシック" charset="0"/>
                <a:cs typeface="ＭＳ Ｐゴシック" charset="0"/>
              </a:rPr>
              <a:t>Opis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ih</a:t>
            </a:r>
            <a:r>
              <a:rPr lang="mr-IN" sz="1200" b="0" kern="1200" baseline="0" dirty="0">
                <a:solidFill>
                  <a:schemeClr val="tx1"/>
                </a:solidFill>
                <a:effectLst/>
                <a:latin typeface="+mn-lt"/>
                <a:ea typeface="ＭＳ Ｐゴシック" charset="0"/>
                <a:cs typeface="ＭＳ Ｐゴシック" charset="0"/>
              </a:rPr>
              <a:t>…</a:t>
            </a:r>
            <a:endParaRPr lang="en-US" sz="1200" b="0" kern="1200" baseline="0" dirty="0">
              <a:solidFill>
                <a:schemeClr val="tx1"/>
              </a:solidFill>
              <a:effectLst/>
              <a:latin typeface="+mn-lt"/>
              <a:ea typeface="ＭＳ Ｐゴシック" charset="0"/>
              <a:cs typeface="ＭＳ Ｐゴシック" charset="0"/>
            </a:endParaRPr>
          </a:p>
          <a:p>
            <a:endParaRPr lang="en-US" sz="1200" b="0" kern="1200" baseline="0" dirty="0">
              <a:solidFill>
                <a:schemeClr val="tx1"/>
              </a:solidFill>
              <a:effectLst/>
              <a:latin typeface="+mn-lt"/>
              <a:ea typeface="ＭＳ Ｐゴシック" charset="0"/>
              <a:cs typeface="ＭＳ Ｐゴシック" charset="0"/>
            </a:endParaRPr>
          </a:p>
          <a:p>
            <a:r>
              <a:rPr lang="en-US" sz="1200" b="0" kern="1200" baseline="0" dirty="0" err="1">
                <a:solidFill>
                  <a:schemeClr val="tx1"/>
                </a:solidFill>
                <a:effectLst/>
                <a:latin typeface="+mn-lt"/>
                <a:ea typeface="ＭＳ Ｐゴシック" charset="0"/>
                <a:cs typeface="ＭＳ Ｐゴシック" charset="0"/>
              </a:rPr>
              <a:t>Iz</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razlog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to</a:t>
            </a:r>
            <a:r>
              <a:rPr lang="en-US" sz="1200" b="0" kern="1200" baseline="0" dirty="0">
                <a:solidFill>
                  <a:schemeClr val="tx1"/>
                </a:solidFill>
                <a:effectLst/>
                <a:latin typeface="+mn-lt"/>
                <a:ea typeface="ＭＳ Ｐゴシック" charset="0"/>
                <a:cs typeface="ＭＳ Ｐゴシック" charset="0"/>
              </a:rPr>
              <a:t>:</a:t>
            </a:r>
          </a:p>
          <a:p>
            <a:endParaRPr lang="en-US" sz="1200" b="0" kern="1200" baseline="0" dirty="0">
              <a:solidFill>
                <a:schemeClr val="tx1"/>
              </a:solidFill>
              <a:effectLst/>
              <a:latin typeface="+mn-lt"/>
              <a:ea typeface="ＭＳ Ｐゴシック" charset="0"/>
              <a:cs typeface="ＭＳ Ｐゴシック" charset="0"/>
            </a:endParaRPr>
          </a:p>
          <a:p>
            <a:pPr marL="228600" indent="-228600">
              <a:buAutoNum type="arabicPeriod"/>
            </a:pPr>
            <a:r>
              <a:rPr lang="en-US" sz="1200" b="0" kern="1200" baseline="0" dirty="0">
                <a:solidFill>
                  <a:schemeClr val="tx1"/>
                </a:solidFill>
                <a:effectLst/>
                <a:latin typeface="+mn-lt"/>
                <a:ea typeface="ＭＳ Ｐゴシック" charset="0"/>
                <a:cs typeface="ＭＳ Ｐゴシック" charset="0"/>
              </a:rPr>
              <a:t>Mail </a:t>
            </a:r>
            <a:r>
              <a:rPr lang="en-US" sz="1200" b="0" kern="1200" baseline="0" dirty="0" err="1">
                <a:solidFill>
                  <a:schemeClr val="tx1"/>
                </a:solidFill>
                <a:effectLst/>
                <a:latin typeface="+mn-lt"/>
                <a:ea typeface="ＭＳ Ｐゴシック" charset="0"/>
                <a:cs typeface="ＭＳ Ｐゴシック" charset="0"/>
              </a:rPr>
              <a:t>sustav</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ad</a:t>
            </a:r>
            <a:r>
              <a:rPr lang="en-US" sz="1200" b="0" kern="1200" baseline="0" dirty="0">
                <a:solidFill>
                  <a:schemeClr val="tx1"/>
                </a:solidFill>
                <a:effectLst/>
                <a:latin typeface="+mn-lt"/>
                <a:ea typeface="ＭＳ Ｐゴシック" charset="0"/>
                <a:cs typeface="ＭＳ Ｐゴシック" charset="0"/>
              </a:rPr>
              <a:t> se radio </a:t>
            </a:r>
            <a:r>
              <a:rPr lang="en-US" sz="1200" b="0" kern="1200" baseline="0" dirty="0" err="1">
                <a:solidFill>
                  <a:schemeClr val="tx1"/>
                </a:solidFill>
                <a:effectLst/>
                <a:latin typeface="+mn-lt"/>
                <a:ea typeface="ＭＳ Ｐゴシック" charset="0"/>
                <a:cs typeface="ＭＳ Ｐゴシック" charset="0"/>
              </a:rPr>
              <a:t>nije</a:t>
            </a:r>
            <a:r>
              <a:rPr lang="en-US" sz="1200" b="0" kern="1200" baseline="0" dirty="0">
                <a:solidFill>
                  <a:schemeClr val="tx1"/>
                </a:solidFill>
                <a:effectLst/>
                <a:latin typeface="+mn-lt"/>
                <a:ea typeface="ＭＳ Ｐゴシック" charset="0"/>
                <a:cs typeface="ＭＳ Ｐゴシック" charset="0"/>
              </a:rPr>
              <a:t> se </a:t>
            </a:r>
            <a:r>
              <a:rPr lang="en-US" sz="1200" b="0" kern="1200" baseline="0" dirty="0" err="1">
                <a:solidFill>
                  <a:schemeClr val="tx1"/>
                </a:solidFill>
                <a:effectLst/>
                <a:latin typeface="+mn-lt"/>
                <a:ea typeface="ＭＳ Ｐゴシック" charset="0"/>
                <a:cs typeface="ＭＳ Ｐゴシック" charset="0"/>
              </a:rPr>
              <a:t>mislil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a:t>
            </a:r>
            <a:r>
              <a:rPr lang="en-US" sz="1200" b="0" kern="1200" baseline="0" dirty="0">
                <a:solidFill>
                  <a:schemeClr val="tx1"/>
                </a:solidFill>
                <a:effectLst/>
                <a:latin typeface="+mn-lt"/>
                <a:ea typeface="ＭＳ Ｐゴシック" charset="0"/>
                <a:cs typeface="ＭＳ Ｐゴシック" charset="0"/>
              </a:rPr>
              <a:t> security </a:t>
            </a:r>
            <a:r>
              <a:rPr lang="en-US" sz="1200" b="0" kern="1200" baseline="0" dirty="0" err="1">
                <a:solidFill>
                  <a:schemeClr val="tx1"/>
                </a:solidFill>
                <a:effectLst/>
                <a:latin typeface="+mn-lt"/>
                <a:ea typeface="ＭＳ Ｐゴシック" charset="0"/>
                <a:cs typeface="ＭＳ Ｐゴシック" charset="0"/>
              </a:rPr>
              <a:t>kolik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nektivit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uspjesn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razmjen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mailova</a:t>
            </a:r>
            <a:endParaRPr lang="en-US" sz="1200" b="0" kern="1200" baseline="0" dirty="0">
              <a:solidFill>
                <a:schemeClr val="tx1"/>
              </a:solidFill>
              <a:effectLst/>
              <a:latin typeface="+mn-lt"/>
              <a:ea typeface="ＭＳ Ｐゴシック" charset="0"/>
              <a:cs typeface="ＭＳ Ｐゴシック" charset="0"/>
            </a:endParaRPr>
          </a:p>
          <a:p>
            <a:pPr marL="228600" indent="-228600">
              <a:buAutoNum type="arabicPeriod"/>
            </a:pPr>
            <a:r>
              <a:rPr lang="en-US" sz="1200" b="0" kern="1200" baseline="0" dirty="0" err="1">
                <a:solidFill>
                  <a:schemeClr val="tx1"/>
                </a:solidFill>
                <a:effectLst/>
                <a:latin typeface="+mn-lt"/>
                <a:ea typeface="ＭＳ Ｐゴシック" charset="0"/>
                <a:cs typeface="ＭＳ Ｐゴシック" charset="0"/>
              </a:rPr>
              <a:t>Zbog</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velikog</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broj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ci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ji</a:t>
            </a:r>
            <a:r>
              <a:rPr lang="en-US" sz="1200" b="0" kern="1200" baseline="0" dirty="0">
                <a:solidFill>
                  <a:schemeClr val="tx1"/>
                </a:solidFill>
                <a:effectLst/>
                <a:latin typeface="+mn-lt"/>
                <a:ea typeface="ＭＳ Ｐゴシック" charset="0"/>
                <a:cs typeface="ＭＳ Ｐゴシック" charset="0"/>
              </a:rPr>
              <a:t> se </a:t>
            </a:r>
            <a:r>
              <a:rPr lang="en-US" sz="1200" b="0" kern="1200" baseline="0" dirty="0" err="1">
                <a:solidFill>
                  <a:schemeClr val="tx1"/>
                </a:solidFill>
                <a:effectLst/>
                <a:latin typeface="+mn-lt"/>
                <a:ea typeface="ＭＳ Ｐゴシック" charset="0"/>
                <a:cs typeface="ＭＳ Ｐゴシック" charset="0"/>
              </a:rPr>
              <a:t>moze</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uci</a:t>
            </a:r>
            <a:r>
              <a:rPr lang="en-US" sz="1200" b="0" kern="1200" baseline="0" dirty="0">
                <a:solidFill>
                  <a:schemeClr val="tx1"/>
                </a:solidFill>
                <a:effectLst/>
                <a:latin typeface="+mn-lt"/>
                <a:ea typeface="ＭＳ Ｐゴシック" charset="0"/>
                <a:cs typeface="ＭＳ Ｐゴシック" charset="0"/>
              </a:rPr>
              <a:t> u </a:t>
            </a:r>
            <a:r>
              <a:rPr lang="en-US" sz="1200" b="0" kern="1200" baseline="0" dirty="0" err="1">
                <a:solidFill>
                  <a:schemeClr val="tx1"/>
                </a:solidFill>
                <a:effectLst/>
                <a:latin typeface="+mn-lt"/>
                <a:ea typeface="ＭＳ Ｐゴシック" charset="0"/>
                <a:cs typeface="ＭＳ Ｐゴシック" charset="0"/>
              </a:rPr>
              <a:t>mrezu</a:t>
            </a:r>
            <a:endParaRPr lang="en-US" sz="1200" b="0" kern="1200" baseline="0" dirty="0">
              <a:solidFill>
                <a:schemeClr val="tx1"/>
              </a:solidFill>
              <a:effectLst/>
              <a:latin typeface="+mn-lt"/>
              <a:ea typeface="ＭＳ Ｐゴシック" charset="0"/>
              <a:cs typeface="ＭＳ Ｐゴシック" charset="0"/>
            </a:endParaRPr>
          </a:p>
          <a:p>
            <a:pPr marL="228600" indent="-228600">
              <a:buAutoNum type="arabicPeriod"/>
            </a:pPr>
            <a:r>
              <a:rPr lang="en-US" sz="1200" b="0" kern="1200" baseline="0" dirty="0" err="1">
                <a:solidFill>
                  <a:schemeClr val="tx1"/>
                </a:solidFill>
                <a:effectLst/>
                <a:latin typeface="+mn-lt"/>
                <a:ea typeface="ＭＳ Ｐゴシック" charset="0"/>
                <a:cs typeface="ＭＳ Ｐゴシック" charset="0"/>
              </a:rPr>
              <a:t>St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rajnj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risnic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j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rak</a:t>
            </a:r>
            <a:r>
              <a:rPr lang="en-US" sz="1200" b="0" kern="1200" baseline="0" dirty="0">
                <a:solidFill>
                  <a:schemeClr val="tx1"/>
                </a:solidFill>
                <a:effectLst/>
                <a:latin typeface="+mn-lt"/>
                <a:ea typeface="ＭＳ Ｐゴシック" charset="0"/>
                <a:cs typeface="ＭＳ Ｐゴシック" charset="0"/>
              </a:rPr>
              <a:t> rana </a:t>
            </a:r>
            <a:r>
              <a:rPr lang="en-US" sz="1200" b="0" kern="1200" baseline="0" dirty="0" err="1">
                <a:solidFill>
                  <a:schemeClr val="tx1"/>
                </a:solidFill>
                <a:effectLst/>
                <a:latin typeface="+mn-lt"/>
                <a:ea typeface="ＭＳ Ｐゴシック" charset="0"/>
                <a:cs typeface="ＭＳ Ｐゴシック" charset="0"/>
              </a:rPr>
              <a:t>svakog</a:t>
            </a:r>
            <a:r>
              <a:rPr lang="en-US" sz="1200" b="0" kern="1200" baseline="0" dirty="0">
                <a:solidFill>
                  <a:schemeClr val="tx1"/>
                </a:solidFill>
                <a:effectLst/>
                <a:latin typeface="+mn-lt"/>
                <a:ea typeface="ＭＳ Ｐゴシック" charset="0"/>
                <a:cs typeface="ＭＳ Ｐゴシック" charset="0"/>
              </a:rPr>
              <a:t> security </a:t>
            </a:r>
            <a:r>
              <a:rPr lang="en-US" sz="1200" b="0" kern="1200" baseline="0" dirty="0" err="1">
                <a:solidFill>
                  <a:schemeClr val="tx1"/>
                </a:solidFill>
                <a:effectLst/>
                <a:latin typeface="+mn-lt"/>
                <a:ea typeface="ＭＳ Ｐゴシック" charset="0"/>
                <a:cs typeface="ＭＳ Ｐゴシック" charset="0"/>
              </a:rPr>
              <a:t>sustav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vakodnevn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riste</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ovaj</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sustav</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ao</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primaran</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oblik</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munikacij</a:t>
            </a:r>
            <a:endParaRPr lang="en-US" sz="1200" b="0" kern="1200" baseline="0" dirty="0">
              <a:solidFill>
                <a:schemeClr val="tx1"/>
              </a:solidFill>
              <a:effectLst/>
              <a:latin typeface="+mn-lt"/>
              <a:ea typeface="ＭＳ Ｐゴシック" charset="0"/>
              <a:cs typeface="ＭＳ Ｐゴシック" charset="0"/>
            </a:endParaRPr>
          </a:p>
          <a:p>
            <a:pPr marL="228600" indent="-228600">
              <a:buAutoNum type="arabicPeriod"/>
            </a:pPr>
            <a:endParaRPr lang="en-US" sz="1200" b="0" kern="1200" baseline="0" dirty="0">
              <a:solidFill>
                <a:schemeClr val="tx1"/>
              </a:solidFill>
              <a:effectLst/>
              <a:latin typeface="+mn-lt"/>
              <a:ea typeface="ＭＳ Ｐゴシック" charset="0"/>
              <a:cs typeface="ＭＳ Ｐゴシック" charset="0"/>
            </a:endParaRPr>
          </a:p>
          <a:p>
            <a:pPr marL="0" indent="0">
              <a:buNone/>
            </a:pPr>
            <a:r>
              <a:rPr lang="en-US" sz="1200" b="0" kern="1200" baseline="0" dirty="0" err="1">
                <a:solidFill>
                  <a:schemeClr val="tx1"/>
                </a:solidFill>
                <a:effectLst/>
                <a:latin typeface="+mn-lt"/>
                <a:ea typeface="ＭＳ Ｐゴシック" charset="0"/>
                <a:cs typeface="ＭＳ Ｐゴシック" charset="0"/>
              </a:rPr>
              <a:t>bitno</a:t>
            </a:r>
            <a:r>
              <a:rPr lang="en-US" sz="1200" b="0" kern="1200" baseline="0" dirty="0">
                <a:solidFill>
                  <a:schemeClr val="tx1"/>
                </a:solidFill>
                <a:effectLst/>
                <a:latin typeface="+mn-lt"/>
                <a:ea typeface="ＭＳ Ｐゴシック" charset="0"/>
                <a:cs typeface="ＭＳ Ｐゴシック" charset="0"/>
              </a:rPr>
              <a:t> je </a:t>
            </a:r>
            <a:r>
              <a:rPr lang="en-US" sz="1200" b="0" kern="1200" baseline="0" dirty="0" err="1">
                <a:solidFill>
                  <a:schemeClr val="tx1"/>
                </a:solidFill>
                <a:effectLst/>
                <a:latin typeface="+mn-lt"/>
                <a:ea typeface="ＭＳ Ｐゴシック" charset="0"/>
                <a:cs typeface="ＭＳ Ｐゴシック" charset="0"/>
              </a:rPr>
              <a:t>imat</a:t>
            </a:r>
            <a:r>
              <a:rPr lang="en-US" sz="1200" b="0" kern="1200" baseline="0" dirty="0">
                <a:solidFill>
                  <a:schemeClr val="tx1"/>
                </a:solidFill>
                <a:effectLst/>
                <a:latin typeface="+mn-lt"/>
                <a:ea typeface="ＭＳ Ｐゴシック" charset="0"/>
                <a:cs typeface="ＭＳ Ｐゴシック" charset="0"/>
              </a:rPr>
              <a:t> multilayer security </a:t>
            </a:r>
            <a:r>
              <a:rPr lang="en-US" sz="1200" b="0" kern="1200" baseline="0" dirty="0" err="1">
                <a:solidFill>
                  <a:schemeClr val="tx1"/>
                </a:solidFill>
                <a:effectLst/>
                <a:latin typeface="+mn-lt"/>
                <a:ea typeface="ＭＳ Ｐゴシック" charset="0"/>
                <a:cs typeface="ＭＳ Ｐゴシック" charset="0"/>
              </a:rPr>
              <a:t>prlatform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koj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ce</a:t>
            </a:r>
            <a:r>
              <a:rPr lang="en-US" sz="1200" b="0" kern="1200" baseline="0" dirty="0">
                <a:solidFill>
                  <a:schemeClr val="tx1"/>
                </a:solidFill>
                <a:effectLst/>
                <a:latin typeface="+mn-lt"/>
                <a:ea typeface="ＭＳ Ｐゴシック" charset="0"/>
                <a:cs typeface="ＭＳ Ｐゴシック" charset="0"/>
              </a:rPr>
              <a:t> mail </a:t>
            </a:r>
            <a:r>
              <a:rPr lang="en-US" sz="1200" b="0" kern="1200" baseline="0" dirty="0" err="1">
                <a:solidFill>
                  <a:schemeClr val="tx1"/>
                </a:solidFill>
                <a:effectLst/>
                <a:latin typeface="+mn-lt"/>
                <a:ea typeface="ＭＳ Ｐゴシック" charset="0"/>
                <a:cs typeface="ＭＳ Ｐゴシック" charset="0"/>
              </a:rPr>
              <a:t>skeniratu</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putem</a:t>
            </a:r>
            <a:r>
              <a:rPr lang="en-US" sz="1200" b="0" kern="1200" baseline="0" dirty="0">
                <a:solidFill>
                  <a:schemeClr val="tx1"/>
                </a:solidFill>
                <a:effectLst/>
                <a:latin typeface="+mn-lt"/>
                <a:ea typeface="ＭＳ Ｐゴシック" charset="0"/>
                <a:cs typeface="ＭＳ Ｐゴシック" charset="0"/>
              </a:rPr>
              <a:t> vise </a:t>
            </a:r>
            <a:r>
              <a:rPr lang="en-US" sz="1200" b="0" kern="1200" baseline="0" dirty="0" err="1">
                <a:solidFill>
                  <a:schemeClr val="tx1"/>
                </a:solidFill>
                <a:effectLst/>
                <a:latin typeface="+mn-lt"/>
                <a:ea typeface="ＭＳ Ｐゴシック" charset="0"/>
                <a:cs typeface="ＭＳ Ｐゴシック" charset="0"/>
              </a:rPr>
              <a:t>engina</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i</a:t>
            </a:r>
            <a:r>
              <a:rPr lang="en-US" sz="1200" b="0" kern="1200" baseline="0" dirty="0">
                <a:solidFill>
                  <a:schemeClr val="tx1"/>
                </a:solidFill>
                <a:effectLst/>
                <a:latin typeface="+mn-lt"/>
                <a:ea typeface="ＭＳ Ｐゴシック" charset="0"/>
                <a:cs typeface="ＭＳ Ｐゴシック" charset="0"/>
              </a:rPr>
              <a:t> u </a:t>
            </a:r>
            <a:r>
              <a:rPr lang="en-US" sz="1200" b="0" kern="1200" baseline="0" dirty="0" err="1">
                <a:solidFill>
                  <a:schemeClr val="tx1"/>
                </a:solidFill>
                <a:effectLst/>
                <a:latin typeface="+mn-lt"/>
                <a:ea typeface="ＭＳ Ｐゴシック" charset="0"/>
                <a:cs typeface="ＭＳ Ｐゴシック" charset="0"/>
              </a:rPr>
              <a:t>slucaju</a:t>
            </a:r>
            <a:r>
              <a:rPr lang="en-US" sz="1200" b="0" kern="1200" baseline="0" dirty="0">
                <a:solidFill>
                  <a:schemeClr val="tx1"/>
                </a:solidFill>
                <a:effectLst/>
                <a:latin typeface="+mn-lt"/>
                <a:ea typeface="ＭＳ Ｐゴシック" charset="0"/>
                <a:cs typeface="ＭＳ Ｐゴシック" charset="0"/>
              </a:rPr>
              <a:t> da </a:t>
            </a:r>
            <a:r>
              <a:rPr lang="en-US" sz="1200" b="0" kern="1200" baseline="0" dirty="0" err="1">
                <a:solidFill>
                  <a:schemeClr val="tx1"/>
                </a:solidFill>
                <a:effectLst/>
                <a:latin typeface="+mn-lt"/>
                <a:ea typeface="ＭＳ Ｐゴシック" charset="0"/>
                <a:cs typeface="ＭＳ Ｐゴシック" charset="0"/>
              </a:rPr>
              <a:t>jedan</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odredjeni</a:t>
            </a:r>
            <a:r>
              <a:rPr lang="en-US" sz="1200" b="0" kern="1200" baseline="0" dirty="0">
                <a:solidFill>
                  <a:schemeClr val="tx1"/>
                </a:solidFill>
                <a:effectLst/>
                <a:latin typeface="+mn-lt"/>
                <a:ea typeface="ＭＳ Ｐゴシック" charset="0"/>
                <a:cs typeface="ＭＳ Ｐゴシック" charset="0"/>
              </a:rPr>
              <a:t> engine </a:t>
            </a:r>
            <a:r>
              <a:rPr lang="en-US" sz="1200" b="0" kern="1200" baseline="0" dirty="0" err="1">
                <a:solidFill>
                  <a:schemeClr val="tx1"/>
                </a:solidFill>
                <a:effectLst/>
                <a:latin typeface="+mn-lt"/>
                <a:ea typeface="ＭＳ Ｐゴシック" charset="0"/>
                <a:cs typeface="ＭＳ Ｐゴシック" charset="0"/>
              </a:rPr>
              <a:t>kleknei</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neuspije</a:t>
            </a:r>
            <a:r>
              <a:rPr lang="en-US" sz="1200" b="0" kern="1200" baseline="0" dirty="0">
                <a:solidFill>
                  <a:schemeClr val="tx1"/>
                </a:solidFill>
                <a:effectLst/>
                <a:latin typeface="+mn-lt"/>
                <a:ea typeface="ＭＳ Ｐゴシック" charset="0"/>
                <a:cs typeface="ＭＳ Ｐゴシック" charset="0"/>
              </a:rPr>
              <a:t> </a:t>
            </a:r>
            <a:r>
              <a:rPr lang="en-US" sz="1200" b="0" kern="1200" baseline="0" dirty="0" err="1">
                <a:solidFill>
                  <a:schemeClr val="tx1"/>
                </a:solidFill>
                <a:effectLst/>
                <a:latin typeface="+mn-lt"/>
                <a:ea typeface="ＭＳ Ｐゴシック" charset="0"/>
                <a:cs typeface="ＭＳ Ｐゴシック" charset="0"/>
              </a:rPr>
              <a:t>detektirati</a:t>
            </a:r>
            <a:r>
              <a:rPr lang="en-US" sz="1200" b="0" kern="1200" baseline="0" dirty="0">
                <a:solidFill>
                  <a:schemeClr val="tx1"/>
                </a:solidFill>
                <a:effectLst/>
                <a:latin typeface="+mn-lt"/>
                <a:ea typeface="ＭＳ Ｐゴシック" charset="0"/>
                <a:cs typeface="ＭＳ Ｐゴシック" charset="0"/>
              </a:rPr>
              <a:t> </a:t>
            </a:r>
            <a:endParaRPr lang="en-US" sz="1200" b="0" kern="1200" dirty="0">
              <a:solidFill>
                <a:schemeClr val="tx1"/>
              </a:solidFill>
              <a:effectLst/>
              <a:latin typeface="+mn-lt"/>
              <a:ea typeface="ＭＳ Ｐゴシック" charset="0"/>
              <a:cs typeface="ＭＳ Ｐゴシック" charset="0"/>
            </a:endParaRPr>
          </a:p>
          <a:p>
            <a:endParaRPr lang="en-US" sz="1200" b="0" kern="1200" dirty="0">
              <a:solidFill>
                <a:schemeClr val="tx1"/>
              </a:solidFill>
              <a:effectLst/>
              <a:latin typeface="+mn-lt"/>
              <a:ea typeface="ＭＳ Ｐゴシック" charset="0"/>
              <a:cs typeface="ＭＳ Ｐゴシック" charset="0"/>
            </a:endParaRPr>
          </a:p>
          <a:p>
            <a:endParaRPr lang="en-US" sz="1200" b="0" kern="1200" dirty="0">
              <a:solidFill>
                <a:schemeClr val="tx1"/>
              </a:solidFill>
              <a:effectLst/>
              <a:latin typeface="+mn-lt"/>
              <a:ea typeface="ＭＳ Ｐゴシック" charset="0"/>
              <a:cs typeface="ＭＳ Ｐゴシック" charset="0"/>
            </a:endParaRPr>
          </a:p>
          <a:p>
            <a:r>
              <a:rPr lang="en-US" sz="1200" b="0" kern="1200" dirty="0">
                <a:solidFill>
                  <a:schemeClr val="tx1"/>
                </a:solidFill>
                <a:effectLst/>
                <a:latin typeface="+mn-lt"/>
                <a:ea typeface="ＭＳ Ｐゴシック" charset="0"/>
                <a:cs typeface="ＭＳ Ｐゴシック" charset="0"/>
              </a:rPr>
              <a:t>As you can see on the slide, attackers use a variety of ways. </a:t>
            </a:r>
          </a:p>
          <a:p>
            <a:endParaRPr lang="en-US" sz="1200" b="1" kern="1200" dirty="0">
              <a:solidFill>
                <a:schemeClr val="tx1"/>
              </a:solidFill>
              <a:effectLst/>
              <a:latin typeface="+mn-lt"/>
              <a:ea typeface="ＭＳ Ｐゴシック" charset="0"/>
              <a:cs typeface="ＭＳ Ｐゴシック" charset="0"/>
            </a:endParaRPr>
          </a:p>
          <a:p>
            <a:r>
              <a:rPr lang="en-US" sz="1200" b="1" kern="1200" dirty="0">
                <a:solidFill>
                  <a:schemeClr val="tx1"/>
                </a:solidFill>
                <a:effectLst/>
                <a:latin typeface="+mn-lt"/>
                <a:ea typeface="ＭＳ Ｐゴシック" charset="0"/>
                <a:cs typeface="ＭＳ Ｐゴシック" charset="0"/>
              </a:rPr>
              <a:t>Here are the main four problem areas when it comes to threats in incoming email: malware, business email compromise and phishing, which have resulted in billions worth of losses to organizations globally each year. </a:t>
            </a:r>
          </a:p>
          <a:p>
            <a:r>
              <a:rPr lang="en-US" sz="1200" b="1" kern="1200" dirty="0">
                <a:solidFill>
                  <a:schemeClr val="tx1"/>
                </a:solidFill>
                <a:effectLst/>
                <a:latin typeface="+mn-lt"/>
                <a:ea typeface="ＭＳ Ｐゴシック" charset="0"/>
                <a:cs typeface="ＭＳ Ｐゴシック" charset="0"/>
              </a:rPr>
              <a:t> </a:t>
            </a:r>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Malware hidden in attachments and specifically ransomware has been a big problem the last few of years. As you might be aware, in a ransomware attack, bad actors use malware to encrypt critical files within your network, essentially changing the locks on your own system and crippling operations. And it’s not just the cost of paying the ransom to the criminals, it’s also about the cost of recovering from the attack. The city of Atlanta’s $50K Ransomware attack that shut down the city for nearly a week has been estimated at a price tag of $2.7M to fix.</a:t>
            </a:r>
          </a:p>
          <a:p>
            <a:r>
              <a:rPr lang="en-US" sz="1200" u="sng" kern="1200" dirty="0">
                <a:solidFill>
                  <a:schemeClr val="tx1"/>
                </a:solidFill>
                <a:effectLst/>
                <a:latin typeface="+mn-lt"/>
                <a:ea typeface="ＭＳ Ｐゴシック" charset="0"/>
                <a:cs typeface="ＭＳ Ｐゴシック" charset="0"/>
                <a:hlinkClick r:id="rId3"/>
              </a:rPr>
              <a:t>https://www.wsbtv.com/news/local/atlanta/ransomware-attack-cost-city-27-million-records-show/730813530</a:t>
            </a:r>
            <a:endParaRPr lang="en-US" sz="1200" u="sng"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Ransomware detections went up 90% in 2017 from the previous year as you see on the slide.</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e second technique attackers use is Business Email Compromise or BEC. In a BEC attack cyber criminals extensively research a target to masquerade as a legitimate party. Attackers forge a message to appear as if it is coming from a friendly email address owned by a trusted employee or executive within the business. The goal is to fool the recipient into disclosing sensitive information or access to finances. The FBI estimates BEC has cost companies $5.3B over 3 years. The FBI also reports that there are 40 thousand reported BEC instances annually with an average loss per BEC incident of $129,427</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e next technique is an old one – phishing.  Businesses are constantly bombarded with phishing messages attempting to lure employees into clicking malicious URLs so they can enter their credentials, which attackers can then utilize. The annual cost of phishing to global organizations was </a:t>
            </a:r>
            <a:r>
              <a:rPr lang="en-US" sz="1200" b="0" kern="1200" dirty="0">
                <a:solidFill>
                  <a:schemeClr val="tx1"/>
                </a:solidFill>
                <a:effectLst/>
                <a:latin typeface="+mn-lt"/>
                <a:ea typeface="ＭＳ Ｐゴシック" charset="0"/>
                <a:cs typeface="ＭＳ Ｐゴシック" charset="0"/>
              </a:rPr>
              <a:t>$9.1 billion in 2017 alone as you see on the slide.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e last challenge customers are facing is what we call domain compromise and this relates to outgoing email. Essentially, attackers use legitimate company domains to carry out phishing campaigns. In the Cisco Annual Cybersecurity Report researchers found that 54% of legitimate domains were being used in phishing in a study conducted. This hurts your brand because bad actors send out emails to your own customers and partners fraudulent emails using your domain. You need visibility into who is using your domain and we will talk about that in a few slides when I cover the securing outbound emails section. </a:t>
            </a:r>
          </a:p>
          <a:p>
            <a:endParaRPr lang="en-US" sz="1200" kern="1200" dirty="0">
              <a:solidFill>
                <a:schemeClr val="tx1"/>
              </a:solidFill>
              <a:effectLst/>
              <a:latin typeface="+mn-lt"/>
              <a:ea typeface="ＭＳ Ｐゴシック" charset="0"/>
              <a:cs typeface="ＭＳ Ｐゴシック" charset="0"/>
            </a:endParaRPr>
          </a:p>
          <a:p>
            <a:r>
              <a:rPr lang="en-US" sz="1200" b="1" kern="1200" dirty="0">
                <a:solidFill>
                  <a:schemeClr val="tx1"/>
                </a:solidFill>
                <a:effectLst/>
                <a:latin typeface="+mn-lt"/>
                <a:ea typeface="ＭＳ Ｐゴシック" charset="0"/>
                <a:cs typeface="ＭＳ Ｐゴシック" charset="0"/>
              </a:rPr>
              <a:t>Transition: The question is: how do you best protect your users against these attacks? Let’s focus on that starting with the next slide.</a:t>
            </a:r>
          </a:p>
          <a:p>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41594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7.png"/><Relationship Id="rId1" Type="http://schemas.openxmlformats.org/officeDocument/2006/relationships/slideMaster" Target="../slideMasters/slideMaster18.xml"/><Relationship Id="rId4" Type="http://schemas.openxmlformats.org/officeDocument/2006/relationships/image" Target="../media/image26.pn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3.png"/><Relationship Id="rId1" Type="http://schemas.openxmlformats.org/officeDocument/2006/relationships/slideMaster" Target="../slideMasters/slideMaster19.xml"/><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7.png"/><Relationship Id="rId1" Type="http://schemas.openxmlformats.org/officeDocument/2006/relationships/slideMaster" Target="../slideMasters/slideMaster19.xml"/><Relationship Id="rId4" Type="http://schemas.openxmlformats.org/officeDocument/2006/relationships/image" Target="../media/image25.pn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3.png"/><Relationship Id="rId1" Type="http://schemas.openxmlformats.org/officeDocument/2006/relationships/slideMaster" Target="../slideMasters/slideMaster20.xml"/><Relationship Id="rId4" Type="http://schemas.openxmlformats.org/officeDocument/2006/relationships/image" Target="../media/image24.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2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C9D77CE-E9CA-F24E-9AAF-008745ABAE88}"/>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
        <p:nvSpPr>
          <p:cNvPr id="2" name="Title 1">
            <a:extLst>
              <a:ext uri="{FF2B5EF4-FFF2-40B4-BE49-F238E27FC236}">
                <a16:creationId xmlns:a16="http://schemas.microsoft.com/office/drawing/2014/main" id="{AA9D081D-1EA1-444C-A5EC-153389FDFF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33160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Slide (no confidential)">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205878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Tree>
    <p:extLst>
      <p:ext uri="{BB962C8B-B14F-4D97-AF65-F5344CB8AC3E}">
        <p14:creationId xmlns:p14="http://schemas.microsoft.com/office/powerpoint/2010/main" val="159799360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accent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b="0" i="0">
                <a:latin typeface="CiscoSans ExtraLight" charset="0"/>
              </a:defRPr>
            </a:lvl1pPr>
          </a:lstStyle>
          <a:p>
            <a:endParaRPr lang="en-US" dirty="0"/>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BCEB">
                    <a:lumMod val="75000"/>
                  </a:srgbClr>
                </a:solidFill>
                <a:latin typeface="CiscoSans ExtraLight" charset="0"/>
                <a:ea typeface=""/>
                <a:cs typeface="CiscoSans Thin"/>
              </a:rPr>
              <a:t>© 2017  Cisco and/or its affiliates. All rights reserved.   Cisco Confidential</a:t>
            </a:r>
          </a:p>
        </p:txBody>
      </p:sp>
    </p:spTree>
    <p:extLst>
      <p:ext uri="{BB962C8B-B14F-4D97-AF65-F5344CB8AC3E}">
        <p14:creationId xmlns:p14="http://schemas.microsoft.com/office/powerpoint/2010/main" val="25444286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b="0" i="0">
                <a:latin typeface="CiscoSans ExtraLight" charset="0"/>
              </a:defRPr>
            </a:lvl1pPr>
          </a:lstStyle>
          <a:p>
            <a:endParaRPr lang="en-US" dirty="0"/>
          </a:p>
        </p:txBody>
      </p:sp>
      <p:sp>
        <p:nvSpPr>
          <p:cNvPr id="7"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846552032"/>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b="0" i="0">
                <a:latin typeface="CiscoSans ExtraLight" charset="0"/>
              </a:defRPr>
            </a:lvl1pPr>
          </a:lstStyle>
          <a:p>
            <a:endParaRPr lang="en-US" dirty="0"/>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ea typeface=""/>
                <a:cs typeface="CiscoSans Thin"/>
              </a:rPr>
              <a:t>© 2017  Cisco and/or its affiliates. All rights reserved.   Cisco Confidential</a:t>
            </a:r>
          </a:p>
        </p:txBody>
      </p:sp>
    </p:spTree>
    <p:extLst>
      <p:ext uri="{BB962C8B-B14F-4D97-AF65-F5344CB8AC3E}">
        <p14:creationId xmlns:p14="http://schemas.microsoft.com/office/powerpoint/2010/main" val="240705146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dirty="0">
              <a:solidFill>
                <a:srgbClr val="005073"/>
              </a:solidFill>
              <a:latin typeface="CiscoSans ExtraLight" charset="0"/>
            </a:endParaRPr>
          </a:p>
        </p:txBody>
      </p:sp>
      <p:sp>
        <p:nvSpPr>
          <p:cNvPr id="5" name="Freeform 6"/>
          <p:cNvSpPr>
            <a:spLocks noChangeAspect="1" noEditPoints="1"/>
          </p:cNvSpPr>
          <p:nvPr userDrawn="1"/>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189"/>
            <a:endParaRPr lang="en-US" sz="1800">
              <a:solidFill>
                <a:srgbClr val="005073"/>
              </a:solidFill>
            </a:endParaRPr>
          </a:p>
        </p:txBody>
      </p:sp>
    </p:spTree>
    <p:extLst>
      <p:ext uri="{BB962C8B-B14F-4D97-AF65-F5344CB8AC3E}">
        <p14:creationId xmlns:p14="http://schemas.microsoft.com/office/powerpoint/2010/main" val="15296885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00050" y="3751761"/>
            <a:ext cx="8343900" cy="355482"/>
          </a:xfrm>
          <a:prstGeom prst="rect">
            <a:avLst/>
          </a:prstGeom>
        </p:spPr>
        <p:txBody>
          <a:bodyPr wrap="square" lIns="182880" tIns="45720" rIns="0" bIns="45720" anchor="b" anchorCtr="0">
            <a:spAutoFit/>
          </a:bodyPr>
          <a:lstStyle>
            <a:lvl1pPr marL="0" indent="0" algn="l">
              <a:buNone/>
              <a:defRPr sz="1800" b="0" i="0">
                <a:solidFill>
                  <a:srgbClr val="0D274D"/>
                </a:solidFill>
                <a:latin typeface="+mn-lt"/>
                <a:cs typeface="CiscoSansTT ExtraLight"/>
              </a:defRPr>
            </a:lvl1pPr>
            <a:lvl2pPr marL="342839" indent="0" algn="ctr">
              <a:buNone/>
              <a:defRPr>
                <a:solidFill>
                  <a:schemeClr val="tx1">
                    <a:tint val="75000"/>
                  </a:schemeClr>
                </a:solidFill>
              </a:defRPr>
            </a:lvl2pPr>
            <a:lvl3pPr marL="685686" indent="0" algn="ctr">
              <a:buNone/>
              <a:defRPr>
                <a:solidFill>
                  <a:schemeClr val="tx1">
                    <a:tint val="75000"/>
                  </a:schemeClr>
                </a:solidFill>
              </a:defRPr>
            </a:lvl3pPr>
            <a:lvl4pPr marL="1028528" indent="0" algn="ctr">
              <a:buNone/>
              <a:defRPr>
                <a:solidFill>
                  <a:schemeClr val="tx1">
                    <a:tint val="75000"/>
                  </a:schemeClr>
                </a:solidFill>
              </a:defRPr>
            </a:lvl4pPr>
            <a:lvl5pPr marL="1371373" indent="0" algn="ctr">
              <a:buNone/>
              <a:defRPr>
                <a:solidFill>
                  <a:schemeClr val="tx1">
                    <a:tint val="75000"/>
                  </a:schemeClr>
                </a:solidFill>
              </a:defRPr>
            </a:lvl5pPr>
            <a:lvl6pPr marL="1714211" indent="0" algn="ctr">
              <a:buNone/>
              <a:defRPr>
                <a:solidFill>
                  <a:schemeClr val="tx1">
                    <a:tint val="75000"/>
                  </a:schemeClr>
                </a:solidFill>
              </a:defRPr>
            </a:lvl6pPr>
            <a:lvl7pPr marL="2057059" indent="0" algn="ctr">
              <a:buNone/>
              <a:defRPr>
                <a:solidFill>
                  <a:schemeClr val="tx1">
                    <a:tint val="75000"/>
                  </a:schemeClr>
                </a:solidFill>
              </a:defRPr>
            </a:lvl7pPr>
            <a:lvl8pPr marL="2399900" indent="0" algn="ctr">
              <a:buNone/>
              <a:defRPr>
                <a:solidFill>
                  <a:schemeClr val="tx1">
                    <a:tint val="75000"/>
                  </a:schemeClr>
                </a:solidFill>
              </a:defRPr>
            </a:lvl8pPr>
            <a:lvl9pPr marL="27427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00050" y="4107243"/>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00050" y="4439626"/>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00050" y="3238791"/>
            <a:ext cx="8343900" cy="353174"/>
          </a:xfrm>
          <a:prstGeom prst="rect">
            <a:avLst/>
          </a:prstGeom>
        </p:spPr>
        <p:txBody>
          <a:bodyPr wrap="square" lIns="182880" tIns="45720" rIns="0" bIns="0">
            <a:spAutoFit/>
          </a:bodyPr>
          <a:lstStyle>
            <a:lvl1pPr marL="0" indent="0">
              <a:buFont typeface="Arial" panose="020B0604020202020204" pitchFamily="34" charset="0"/>
              <a:buNone/>
              <a:defRPr sz="2100" b="0" i="0" baseline="0">
                <a:solidFill>
                  <a:srgbClr val="0D274D"/>
                </a:solidFill>
                <a:latin typeface="+mj-lt"/>
                <a:cs typeface="CiscoSansTT ExtraLight"/>
              </a:defRPr>
            </a:lvl1pPr>
            <a:lvl2pPr marL="304766" indent="0">
              <a:buNone/>
              <a:defRPr/>
            </a:lvl2pPr>
            <a:lvl3pPr marL="427380" indent="0">
              <a:buNone/>
              <a:defRPr/>
            </a:lvl3pPr>
            <a:lvl4pPr marL="516668" indent="0">
              <a:buNone/>
              <a:defRPr/>
            </a:lvl4pPr>
            <a:lvl5pPr marL="601191" indent="0">
              <a:buNone/>
              <a:defRPr/>
            </a:lvl5pPr>
          </a:lstStyle>
          <a:p>
            <a:pPr lvl="0"/>
            <a:r>
              <a:rPr lang="en-GB"/>
              <a:t>Subtitle Goes Here</a:t>
            </a:r>
          </a:p>
        </p:txBody>
      </p:sp>
      <p:sp>
        <p:nvSpPr>
          <p:cNvPr id="20" name="Title 1"/>
          <p:cNvSpPr>
            <a:spLocks noGrp="1"/>
          </p:cNvSpPr>
          <p:nvPr>
            <p:ph type="ctrTitle" hasCustomPrompt="1"/>
          </p:nvPr>
        </p:nvSpPr>
        <p:spPr>
          <a:xfrm>
            <a:off x="400051" y="2674126"/>
            <a:ext cx="8340152" cy="560923"/>
          </a:xfrm>
          <a:prstGeom prst="rect">
            <a:avLst/>
          </a:prstGeom>
        </p:spPr>
        <p:txBody>
          <a:bodyPr anchor="b"/>
          <a:lstStyle>
            <a:lvl1pPr marL="0" indent="0" algn="l">
              <a:lnSpc>
                <a:spcPct val="90000"/>
              </a:lnSpc>
              <a:buFont typeface="Arial" panose="020B0604020202020204" pitchFamily="34" charset="0"/>
              <a:buNone/>
              <a:defRPr sz="4050" b="0" i="0" spc="0" baseline="0">
                <a:solidFill>
                  <a:srgbClr val="0D274D"/>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D27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1919046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500" b="0" i="0" spc="0" baseline="0">
                <a:solidFill>
                  <a:srgbClr val="0D274D"/>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1506119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rgbClr val="1E447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7152659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5940018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527902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4141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31"/>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Edit Master text styles</a:t>
            </a:r>
          </a:p>
        </p:txBody>
      </p:sp>
    </p:spTree>
    <p:extLst>
      <p:ext uri="{BB962C8B-B14F-4D97-AF65-F5344CB8AC3E}">
        <p14:creationId xmlns:p14="http://schemas.microsoft.com/office/powerpoint/2010/main" val="22700078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3"/>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9"/>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Edit Master text styles</a:t>
            </a:r>
          </a:p>
        </p:txBody>
      </p:sp>
      <p:sp>
        <p:nvSpPr>
          <p:cNvPr id="5" name="Footer Placeholder 1">
            <a:extLst>
              <a:ext uri="{FF2B5EF4-FFF2-40B4-BE49-F238E27FC236}">
                <a16:creationId xmlns:a16="http://schemas.microsoft.com/office/drawing/2014/main" id="{40D33F0A-2E7A-4113-B6A1-A66C5AD9DCF3}"/>
              </a:ext>
            </a:extLst>
          </p:cNvPr>
          <p:cNvSpPr>
            <a:spLocks noGrp="1"/>
          </p:cNvSpPr>
          <p:nvPr>
            <p:ph type="ftr" sz="quarter" idx="3"/>
          </p:nvPr>
        </p:nvSpPr>
        <p:spPr>
          <a:xfrm>
            <a:off x="400050" y="4774354"/>
            <a:ext cx="2420534" cy="92333"/>
          </a:xfrm>
          <a:prstGeom prst="rect">
            <a:avLst/>
          </a:prstGeom>
        </p:spPr>
        <p:txBody>
          <a:bodyPr vert="horz" wrap="none" lIns="0" tIns="0" rIns="0" bIns="0" rtlCol="0" anchor="ctr">
            <a:spAutoFit/>
          </a:bodyPr>
          <a:lstStyle>
            <a:lvl1pPr marL="0" marR="0" indent="0" algn="l" defTabSz="685800" rtl="0" eaLnBrk="1" fontAlgn="auto" latinLnBrk="0" hangingPunct="1">
              <a:lnSpc>
                <a:spcPct val="100000"/>
              </a:lnSpc>
              <a:spcBef>
                <a:spcPts val="0"/>
              </a:spcBef>
              <a:spcAft>
                <a:spcPts val="0"/>
              </a:spcAft>
              <a:buClrTx/>
              <a:buSzTx/>
              <a:buFontTx/>
              <a:buNone/>
              <a:tabLst/>
              <a:defRPr lang="en-US" sz="600" kern="1200" spc="20" smtClean="0">
                <a:solidFill>
                  <a:srgbClr val="FFFFFF">
                    <a:lumMod val="65000"/>
                  </a:srgbClr>
                </a:solidFill>
                <a:latin typeface="+mn-lt"/>
                <a:ea typeface="+mn-ea"/>
                <a:cs typeface="CiscoSans Thin"/>
              </a:defRPr>
            </a:lvl1pPr>
          </a:lstStyle>
          <a:p>
            <a:pPr>
              <a:defRPr/>
            </a:pPr>
            <a:r>
              <a:rPr lang="en-US" dirty="0"/>
              <a:t>© 2020 Cisco and/or its affiliates. All rights reserved. Cisco Confidential</a:t>
            </a:r>
          </a:p>
        </p:txBody>
      </p:sp>
    </p:spTree>
    <p:extLst>
      <p:ext uri="{BB962C8B-B14F-4D97-AF65-F5344CB8AC3E}">
        <p14:creationId xmlns:p14="http://schemas.microsoft.com/office/powerpoint/2010/main" val="5833819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6180414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Picture Placeholder 2"/>
          <p:cNvSpPr>
            <a:spLocks noGrp="1"/>
          </p:cNvSpPr>
          <p:nvPr>
            <p:ph type="pic" sz="quarter" idx="10"/>
          </p:nvPr>
        </p:nvSpPr>
        <p:spPr>
          <a:xfrm>
            <a:off x="308012" y="240633"/>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92312D10-86E6-4B1C-9AF0-A8AD12BEA7EB}"/>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2628062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88" indent="-171442">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78" indent="-165092">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66" indent="-109532">
              <a:buClr>
                <a:schemeClr val="tx1"/>
              </a:buClr>
              <a:buSzPct val="80000"/>
              <a:buFont typeface="Arial"/>
              <a:buChar char="•"/>
              <a:defRPr sz="1600" b="0" i="0">
                <a:solidFill>
                  <a:schemeClr val="tx1"/>
                </a:solidFill>
                <a:latin typeface="+mn-lt"/>
                <a:ea typeface="CiscoSansTT Thin" charset="0"/>
                <a:cs typeface="CiscoSansTT Thin" charset="0"/>
              </a:defRPr>
            </a:lvl3pPr>
            <a:lvl4pPr marL="910989" indent="-171407">
              <a:buClr>
                <a:schemeClr val="tx1"/>
              </a:buClr>
              <a:buSzPct val="80000"/>
              <a:buFont typeface="Arial"/>
              <a:buChar char="•"/>
              <a:defRPr sz="1400" b="0" i="0">
                <a:solidFill>
                  <a:schemeClr val="tx1"/>
                </a:solidFill>
                <a:latin typeface="+mn-lt"/>
                <a:ea typeface="CiscoSansTT Thin" charset="0"/>
                <a:cs typeface="CiscoSansTT Thin" charset="0"/>
              </a:defRPr>
            </a:lvl4pPr>
            <a:lvl5pPr marL="1082396" indent="-168232">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484423"/>
            <a:ext cx="8345488" cy="445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94F77B74-AD51-49C0-B276-14B89E140BE7}"/>
              </a:ext>
            </a:extLst>
          </p:cNvPr>
          <p:cNvSpPr>
            <a:spLocks noGrp="1"/>
          </p:cNvSpPr>
          <p:nvPr>
            <p:ph type="ftr" sz="quarter" idx="11"/>
          </p:nvPr>
        </p:nvSpPr>
        <p:spPr>
          <a:xfrm>
            <a:off x="400050" y="4774355"/>
            <a:ext cx="2420534"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20336829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353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FE357A98-4CCE-4FBF-8812-E46653F70CA7}"/>
              </a:ext>
            </a:extLst>
          </p:cNvPr>
          <p:cNvSpPr>
            <a:spLocks noGrp="1"/>
          </p:cNvSpPr>
          <p:nvPr>
            <p:ph type="ftr" sz="quarter" idx="12"/>
          </p:nvPr>
        </p:nvSpPr>
        <p:spPr>
          <a:xfrm>
            <a:off x="400050" y="4774355"/>
            <a:ext cx="2420534"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18327246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57C0-DC2A-4F12-A868-1B62BC4395F6}"/>
              </a:ext>
            </a:extLst>
          </p:cNvPr>
          <p:cNvSpPr>
            <a:spLocks noGrp="1"/>
          </p:cNvSpPr>
          <p:nvPr>
            <p:ph type="ftr" sz="quarter" idx="10"/>
          </p:nvPr>
        </p:nvSpPr>
        <p:spPr>
          <a:xfrm>
            <a:off x="400050" y="4774355"/>
            <a:ext cx="2420534" cy="92333"/>
          </a:xfrm>
        </p:spPr>
        <p:txBody>
          <a:bodyPr/>
          <a:lstStyle/>
          <a:p>
            <a:pPr>
              <a:defRPr/>
            </a:pPr>
            <a:r>
              <a:rPr lang="en-US" sz="600" spc="20" dirty="0">
                <a:solidFill>
                  <a:srgbClr val="FFFFFF">
                    <a:lumMod val="65000"/>
                  </a:srgbClr>
                </a:solidFill>
              </a:rPr>
              <a:t>© 2020 Cisco and/or its affiliates. All rights reserved. Cisco Confidential</a:t>
            </a:r>
          </a:p>
        </p:txBody>
      </p:sp>
      <p:sp>
        <p:nvSpPr>
          <p:cNvPr id="4" name="Title 3">
            <a:extLst>
              <a:ext uri="{FF2B5EF4-FFF2-40B4-BE49-F238E27FC236}">
                <a16:creationId xmlns:a16="http://schemas.microsoft.com/office/drawing/2014/main" id="{313C144C-3A90-43DE-9A36-647D661AC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12516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71643A0-1715-4F24-AA94-96628FC8088D}"/>
              </a:ext>
            </a:extLst>
          </p:cNvPr>
          <p:cNvSpPr>
            <a:spLocks noGrp="1"/>
          </p:cNvSpPr>
          <p:nvPr>
            <p:ph type="ftr" sz="quarter" idx="10"/>
          </p:nvPr>
        </p:nvSpPr>
        <p:spPr/>
        <p:txBody>
          <a:bodyPr/>
          <a:lstStyle/>
          <a:p>
            <a:pPr>
              <a:defRPr/>
            </a:pPr>
            <a:r>
              <a:rPr lang="en-US"/>
              <a:t>© 2020 Cisco and/or its affiliates. All rights reserved. Cisco Confidential</a:t>
            </a:r>
          </a:p>
        </p:txBody>
      </p:sp>
    </p:spTree>
    <p:extLst>
      <p:ext uri="{BB962C8B-B14F-4D97-AF65-F5344CB8AC3E}">
        <p14:creationId xmlns:p14="http://schemas.microsoft.com/office/powerpoint/2010/main" val="76206819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90"/>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53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DED42CA0-52CF-4340-8E73-37D0492411C3}"/>
              </a:ext>
            </a:extLst>
          </p:cNvPr>
          <p:cNvSpPr>
            <a:spLocks noGrp="1"/>
          </p:cNvSpPr>
          <p:nvPr>
            <p:ph type="ftr" sz="quarter" idx="13"/>
          </p:nvPr>
        </p:nvSpPr>
        <p:spPr>
          <a:xfrm>
            <a:off x="400050" y="4774355"/>
            <a:ext cx="2420534"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37007240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40"/>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40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8714D72-2888-49D4-A1D4-27996961A0F8}"/>
              </a:ext>
            </a:extLst>
          </p:cNvPr>
          <p:cNvSpPr>
            <a:spLocks noGrp="1"/>
          </p:cNvSpPr>
          <p:nvPr>
            <p:ph type="ftr" sz="quarter" idx="12"/>
          </p:nvPr>
        </p:nvSpPr>
        <p:spPr>
          <a:xfrm>
            <a:off x="400050" y="4774355"/>
            <a:ext cx="2420534"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1590842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9279232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90"/>
            <a:ext cx="8280057" cy="3073946"/>
          </a:xfrm>
          <a:prstGeom prst="rect">
            <a:avLst/>
          </a:prstGeom>
        </p:spPr>
        <p:txBody>
          <a:bodyPr lIns="91420" tIns="45710" rIns="91420" bIns="45710">
            <a:noAutofit/>
          </a:bodyPr>
          <a:lstStyle>
            <a:lvl1pPr marL="285676" marR="0" indent="-285676" algn="ctr" defTabSz="45708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4"/>
            <a:ext cx="8345488" cy="3407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6E4F79F4-4D8D-4391-82B5-21BB47DB8D49}"/>
              </a:ext>
            </a:extLst>
          </p:cNvPr>
          <p:cNvSpPr>
            <a:spLocks noGrp="1"/>
          </p:cNvSpPr>
          <p:nvPr>
            <p:ph type="ftr" sz="quarter" idx="10"/>
          </p:nvPr>
        </p:nvSpPr>
        <p:spPr>
          <a:xfrm>
            <a:off x="400050" y="4774355"/>
            <a:ext cx="2420534"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187729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4"/>
            <a:ext cx="3662024" cy="2925868"/>
          </a:xfrm>
          <a:prstGeom prst="rect">
            <a:avLst/>
          </a:prstGeom>
        </p:spPr>
        <p:txBody>
          <a:bodyPr lIns="91420" tIns="45710" rIns="91420" bIns="45710">
            <a:noAutofit/>
          </a:bodyPr>
          <a:lstStyle>
            <a:lvl1pPr marL="174617" indent="-117469">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1" indent="-114294">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05" indent="-114294">
              <a:buClr>
                <a:schemeClr val="tx2"/>
              </a:buClr>
              <a:buSzPct val="60000"/>
              <a:buFont typeface="Arial"/>
              <a:buChar char="•"/>
              <a:defRPr sz="1600" b="0" i="0">
                <a:solidFill>
                  <a:schemeClr val="bg1"/>
                </a:solidFill>
                <a:latin typeface="+mn-lt"/>
                <a:ea typeface="CiscoSansTT Thin" charset="0"/>
                <a:cs typeface="CiscoSansTT Thin" charset="0"/>
              </a:defRPr>
            </a:lvl3pPr>
            <a:lvl4pPr marL="517499" indent="-114294">
              <a:buClr>
                <a:schemeClr val="tx2"/>
              </a:buClr>
              <a:buSzPct val="60000"/>
              <a:buFont typeface="Arial"/>
              <a:buChar char="•"/>
              <a:defRPr sz="1400" b="0" i="0">
                <a:solidFill>
                  <a:schemeClr val="bg1"/>
                </a:solidFill>
                <a:latin typeface="+mn-lt"/>
                <a:ea typeface="CiscoSansTT Thin" charset="0"/>
                <a:cs typeface="CiscoSansTT Thin" charset="0"/>
              </a:defRPr>
            </a:lvl4pPr>
            <a:lvl5pPr marL="631793" indent="-114294">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8" y="262215"/>
            <a:ext cx="3686559" cy="89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a:p>
        </p:txBody>
      </p:sp>
      <p:sp>
        <p:nvSpPr>
          <p:cNvPr id="3" name="Footer Placeholder 2">
            <a:extLst>
              <a:ext uri="{FF2B5EF4-FFF2-40B4-BE49-F238E27FC236}">
                <a16:creationId xmlns:a16="http://schemas.microsoft.com/office/drawing/2014/main" id="{6097DDEE-9620-4617-B031-DB204774EE6F}"/>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368642384"/>
      </p:ext>
    </p:extLst>
  </p:cSld>
  <p:clrMapOvr>
    <a:masterClrMapping/>
  </p:clrMapOvr>
  <p:extLst>
    <p:ext uri="{DCECCB84-F9BA-43D5-87BE-67443E8EF086}">
      <p15:sldGuideLst xmlns:p15="http://schemas.microsoft.com/office/powerpoint/2012/main">
        <p15:guide id="2" pos="288">
          <p15:clr>
            <a:srgbClr val="FBAE40"/>
          </p15:clr>
        </p15:guide>
        <p15:guide id="3" pos="259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2" y="2105188"/>
            <a:ext cx="3827463" cy="933124"/>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31812"/>
            <a:ext cx="3551237" cy="4059237"/>
          </a:xfrm>
          <a:prstGeom prst="rect">
            <a:avLst/>
          </a:prstGeom>
        </p:spPr>
        <p:txBody>
          <a:bodyPr lIns="0" rIns="0" anchor="ctr" anchorCtr="0"/>
          <a:lstStyle>
            <a:lvl1pPr marL="169855" indent="-169855">
              <a:lnSpc>
                <a:spcPct val="100000"/>
              </a:lnSpc>
              <a:buClr>
                <a:schemeClr val="tx1"/>
              </a:buClr>
              <a:buSzPct val="60000"/>
              <a:buFont typeface="Arial" panose="020B0604020202020204" pitchFamily="34" charset="0"/>
              <a:buChar char="•"/>
              <a:tabLst>
                <a:tab pos="228588" algn="l"/>
              </a:tabLst>
              <a:defRPr sz="2400"/>
            </a:lvl1pPr>
            <a:lvl2pPr marL="346058" indent="-171442">
              <a:lnSpc>
                <a:spcPct val="100000"/>
              </a:lnSpc>
              <a:buClr>
                <a:schemeClr val="tx1"/>
              </a:buClr>
              <a:buSzPct val="60000"/>
              <a:buFont typeface="Arial" panose="020B0604020202020204" pitchFamily="34" charset="0"/>
              <a:buChar char="•"/>
              <a:defRPr sz="2400"/>
            </a:lvl2pPr>
            <a:lvl3pPr marL="457178" indent="-117469">
              <a:lnSpc>
                <a:spcPct val="100000"/>
              </a:lnSpc>
              <a:buClr>
                <a:schemeClr val="tx1"/>
              </a:buClr>
              <a:buSzPct val="60000"/>
              <a:buFont typeface="Arial" panose="020B0604020202020204" pitchFamily="34" charset="0"/>
              <a:buChar char="•"/>
              <a:defRPr sz="2000"/>
            </a:lvl3pPr>
            <a:lvl4pPr marL="574647" indent="-117469">
              <a:lnSpc>
                <a:spcPct val="100000"/>
              </a:lnSpc>
              <a:buClr>
                <a:schemeClr val="tx1"/>
              </a:buClr>
              <a:buSzPct val="60000"/>
              <a:buFont typeface="Arial" panose="020B0604020202020204" pitchFamily="34" charset="0"/>
              <a:buChar char="•"/>
              <a:tabLst/>
              <a:defRPr sz="1800"/>
            </a:lvl4pPr>
            <a:lvl5pPr marL="744502" indent="-112707">
              <a:lnSpc>
                <a:spcPct val="100000"/>
              </a:lnSpc>
              <a:buClr>
                <a:schemeClr val="tx1"/>
              </a:buClr>
              <a:buSzPct val="6000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31FFA3F-4EA7-4250-90C7-B81DE432023D}"/>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422096973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8" y="510540"/>
            <a:ext cx="3808797" cy="9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10540"/>
            <a:ext cx="3551237" cy="4080510"/>
          </a:xfrm>
          <a:prstGeom prst="rect">
            <a:avLst/>
          </a:prstGeom>
        </p:spPr>
        <p:txBody>
          <a:bodyPr lIns="0" rIns="0"/>
          <a:lstStyle>
            <a:lvl1pPr marL="114294" indent="-114294">
              <a:lnSpc>
                <a:spcPct val="100000"/>
              </a:lnSpc>
              <a:buClr>
                <a:schemeClr val="tx1"/>
              </a:buClr>
              <a:buSzPct val="60000"/>
              <a:defRPr sz="2000"/>
            </a:lvl1pPr>
            <a:lvl2pPr marL="228588" indent="-114294">
              <a:lnSpc>
                <a:spcPct val="100000"/>
              </a:lnSpc>
              <a:buClr>
                <a:schemeClr val="tx1"/>
              </a:buClr>
              <a:buSzPct val="60000"/>
              <a:defRPr sz="2000"/>
            </a:lvl2pPr>
            <a:lvl3pPr marL="342884" indent="-114294">
              <a:lnSpc>
                <a:spcPct val="100000"/>
              </a:lnSpc>
              <a:buClr>
                <a:schemeClr val="tx1"/>
              </a:buClr>
              <a:buSzPct val="60000"/>
              <a:defRPr sz="1800"/>
            </a:lvl3pPr>
            <a:lvl4pPr marL="457178" indent="-123819">
              <a:lnSpc>
                <a:spcPct val="100000"/>
              </a:lnSpc>
              <a:buClr>
                <a:schemeClr val="tx1"/>
              </a:buClr>
              <a:buSzPct val="60000"/>
              <a:defRPr sz="1600"/>
            </a:lvl4pPr>
            <a:lvl5pPr marL="574647" indent="-117469">
              <a:lnSpc>
                <a:spcPct val="100000"/>
              </a:lnSpc>
              <a:buClr>
                <a:schemeClr val="tx1"/>
              </a:buClr>
              <a:buSzPct val="60000"/>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8" y="1659844"/>
            <a:ext cx="3808797" cy="2931208"/>
          </a:xfrm>
          <a:prstGeom prst="rect">
            <a:avLst/>
          </a:prstGeom>
        </p:spPr>
        <p:txBody>
          <a:bodyPr/>
          <a:lstStyle>
            <a:lvl1pPr marL="114294" indent="-114294">
              <a:buClr>
                <a:schemeClr val="tx2"/>
              </a:buClr>
              <a:buSzPct val="60000"/>
              <a:defRPr lang="en-US" sz="2000" kern="1200" dirty="0" smtClean="0">
                <a:solidFill>
                  <a:schemeClr val="bg1"/>
                </a:solidFill>
                <a:latin typeface="+mn-lt"/>
                <a:ea typeface="ＭＳ Ｐゴシック" charset="0"/>
                <a:cs typeface="CiscoSans"/>
              </a:defRPr>
            </a:lvl1pPr>
            <a:lvl2pPr marL="228588" indent="-114294">
              <a:buClr>
                <a:schemeClr val="tx2"/>
              </a:buClr>
              <a:buSzPct val="60000"/>
              <a:defRPr sz="2000">
                <a:solidFill>
                  <a:schemeClr val="bg1"/>
                </a:solidFill>
              </a:defRPr>
            </a:lvl2pPr>
            <a:lvl3pPr marL="342884" indent="-114294">
              <a:buClr>
                <a:schemeClr val="tx2"/>
              </a:buClr>
              <a:buSzPct val="60000"/>
              <a:defRPr sz="1800">
                <a:solidFill>
                  <a:schemeClr val="bg1"/>
                </a:solidFill>
              </a:defRPr>
            </a:lvl3pPr>
            <a:lvl4pPr marL="457178" indent="-123819">
              <a:buClr>
                <a:schemeClr val="tx2"/>
              </a:buClr>
              <a:buSzPct val="60000"/>
              <a:defRPr sz="1600">
                <a:solidFill>
                  <a:schemeClr val="bg1"/>
                </a:solidFill>
              </a:defRPr>
            </a:lvl4pPr>
            <a:lvl5pPr marL="574647" indent="-117469">
              <a:buClr>
                <a:schemeClr val="tx2"/>
              </a:buClr>
              <a:buSzPct val="60000"/>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200BB06-6AC6-4364-8D66-58A3F47E9625}"/>
              </a:ext>
            </a:extLst>
          </p:cNvPr>
          <p:cNvSpPr>
            <a:spLocks noGrp="1"/>
          </p:cNvSpPr>
          <p:nvPr>
            <p:ph type="ftr" sz="quarter" idx="12"/>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19360809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7" y="4062353"/>
            <a:ext cx="3559175" cy="525145"/>
          </a:xfrm>
          <a:prstGeom prst="rect">
            <a:avLst/>
          </a:prstGeom>
        </p:spPr>
        <p:txBody>
          <a:bodyPr lIns="0" tIns="0" rIns="0" bIns="0"/>
          <a:lstStyle>
            <a:lvl1pPr marL="0" indent="0">
              <a:buNone/>
              <a:defRPr sz="1400"/>
            </a:lvl1pPr>
          </a:lstStyle>
          <a:p>
            <a:pPr lvl="0"/>
            <a:r>
              <a:rPr lang="en-US"/>
              <a:t>Edit Master text styles</a:t>
            </a:r>
          </a:p>
        </p:txBody>
      </p:sp>
      <p:sp>
        <p:nvSpPr>
          <p:cNvPr id="2" name="Footer Placeholder 1">
            <a:extLst>
              <a:ext uri="{FF2B5EF4-FFF2-40B4-BE49-F238E27FC236}">
                <a16:creationId xmlns:a16="http://schemas.microsoft.com/office/drawing/2014/main" id="{B6B616C0-5F13-4D17-A9CC-FDDCE3FFB641}"/>
              </a:ext>
            </a:extLst>
          </p:cNvPr>
          <p:cNvSpPr>
            <a:spLocks noGrp="1"/>
          </p:cNvSpPr>
          <p:nvPr>
            <p:ph type="ftr" sz="quarter" idx="12"/>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909068249"/>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4059236"/>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0BF548A4-D401-4A88-8D71-3D86F4BDC8E9}"/>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403980518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27ED3FE-6B56-4BB1-B685-53DA83033CA7}"/>
              </a:ext>
            </a:extLst>
          </p:cNvPr>
          <p:cNvSpPr>
            <a:spLocks noGrp="1"/>
          </p:cNvSpPr>
          <p:nvPr>
            <p:ph type="ftr" sz="quarter" idx="10"/>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4182222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4" y="0"/>
            <a:ext cx="4563907" cy="5143500"/>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EC2256C1-1088-4BF1-9F35-7892DC0A2266}"/>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391558189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2" name="Footer Placeholder 1">
            <a:extLst>
              <a:ext uri="{FF2B5EF4-FFF2-40B4-BE49-F238E27FC236}">
                <a16:creationId xmlns:a16="http://schemas.microsoft.com/office/drawing/2014/main" id="{45277B53-227D-4A3F-A03A-074F288090C1}"/>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55680780"/>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5190"/>
            <a:ext cx="3808797" cy="93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2" name="Footer Placeholder 1">
            <a:extLst>
              <a:ext uri="{FF2B5EF4-FFF2-40B4-BE49-F238E27FC236}">
                <a16:creationId xmlns:a16="http://schemas.microsoft.com/office/drawing/2014/main" id="{871FF866-9C4D-418C-B685-2006049353C3}"/>
              </a:ext>
            </a:extLst>
          </p:cNvPr>
          <p:cNvSpPr>
            <a:spLocks noGrp="1"/>
          </p:cNvSpPr>
          <p:nvPr>
            <p:ph type="ftr" sz="quarter" idx="11"/>
          </p:nvPr>
        </p:nvSpPr>
        <p:spPr>
          <a:xfrm>
            <a:off x="400050" y="4774355"/>
            <a:ext cx="2420534"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12984122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pic>
        <p:nvPicPr>
          <p:cNvPr id="9" name="Picture 8">
            <a:extLst>
              <a:ext uri="{FF2B5EF4-FFF2-40B4-BE49-F238E27FC236}">
                <a16:creationId xmlns:a16="http://schemas.microsoft.com/office/drawing/2014/main" id="{AC28A369-2929-8A40-9230-CDAC9D54AC2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45220" y="221305"/>
            <a:ext cx="1493771" cy="769644"/>
          </a:xfrm>
          <a:prstGeom prst="rect">
            <a:avLst/>
          </a:prstGeom>
        </p:spPr>
      </p:pic>
      <p:pic>
        <p:nvPicPr>
          <p:cNvPr id="10" name="Picture 9">
            <a:extLst>
              <a:ext uri="{FF2B5EF4-FFF2-40B4-BE49-F238E27FC236}">
                <a16:creationId xmlns:a16="http://schemas.microsoft.com/office/drawing/2014/main" id="{D57DDBBB-C48F-744F-B299-18CD2CF3F22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014162" y="455376"/>
            <a:ext cx="1645920" cy="319424"/>
          </a:xfrm>
          <a:prstGeom prst="rect">
            <a:avLst/>
          </a:prstGeom>
        </p:spPr>
      </p:pic>
    </p:spTree>
    <p:extLst>
      <p:ext uri="{BB962C8B-B14F-4D97-AF65-F5344CB8AC3E}">
        <p14:creationId xmlns:p14="http://schemas.microsoft.com/office/powerpoint/2010/main" val="11568332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6" y="2129079"/>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1E44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179173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Subtitle 2">
            <a:extLst>
              <a:ext uri="{FF2B5EF4-FFF2-40B4-BE49-F238E27FC236}">
                <a16:creationId xmlns:a16="http://schemas.microsoft.com/office/drawing/2014/main" id="{CF17D5A5-749D-944B-B7A1-A82C7393F065}"/>
              </a:ext>
            </a:extLst>
          </p:cNvPr>
          <p:cNvSpPr>
            <a:spLocks noGrp="1"/>
          </p:cNvSpPr>
          <p:nvPr>
            <p:ph type="subTitle" idx="1" hasCustomPrompt="1"/>
          </p:nvPr>
        </p:nvSpPr>
        <p:spPr>
          <a:xfrm>
            <a:off x="469496" y="3868768"/>
            <a:ext cx="5164565" cy="288131"/>
          </a:xfrm>
          <a:prstGeom prst="rect">
            <a:avLst/>
          </a:prstGeom>
        </p:spPr>
        <p:txBody>
          <a:bodyPr lIns="91420" tIns="45710" rIns="91420" bIns="45710" anchor="b" anchorCtr="0">
            <a:noAutofit/>
          </a:bodyPr>
          <a:lstStyle>
            <a:lvl1pPr marL="0" indent="0" algn="l">
              <a:buNone/>
              <a:defRPr sz="1600" b="0" i="0" baseline="0">
                <a:solidFill>
                  <a:schemeClr val="bg1"/>
                </a:solidFill>
                <a:latin typeface="CiscoSansTT Medium" panose="020B0503020201020303" pitchFamily="34" charset="0"/>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9" name="Text Placeholder 38">
            <a:extLst>
              <a:ext uri="{FF2B5EF4-FFF2-40B4-BE49-F238E27FC236}">
                <a16:creationId xmlns:a16="http://schemas.microsoft.com/office/drawing/2014/main" id="{62D8C539-F11C-D540-B0CF-A5D29426E1A3}"/>
              </a:ext>
            </a:extLst>
          </p:cNvPr>
          <p:cNvSpPr>
            <a:spLocks noGrp="1"/>
          </p:cNvSpPr>
          <p:nvPr>
            <p:ph type="body" sz="quarter" idx="11" hasCustomPrompt="1"/>
          </p:nvPr>
        </p:nvSpPr>
        <p:spPr>
          <a:xfrm>
            <a:off x="469496" y="4108765"/>
            <a:ext cx="5164565"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0" name="Text Placeholder 40">
            <a:extLst>
              <a:ext uri="{FF2B5EF4-FFF2-40B4-BE49-F238E27FC236}">
                <a16:creationId xmlns:a16="http://schemas.microsoft.com/office/drawing/2014/main" id="{66FDC49E-A2F8-6E4E-BC51-E764F415F6C6}"/>
              </a:ext>
            </a:extLst>
          </p:cNvPr>
          <p:cNvSpPr>
            <a:spLocks noGrp="1"/>
          </p:cNvSpPr>
          <p:nvPr>
            <p:ph type="body" sz="quarter" idx="12" hasCustomPrompt="1"/>
          </p:nvPr>
        </p:nvSpPr>
        <p:spPr>
          <a:xfrm>
            <a:off x="469496" y="4348762"/>
            <a:ext cx="5164565"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1" name="Text Placeholder 2">
            <a:extLst>
              <a:ext uri="{FF2B5EF4-FFF2-40B4-BE49-F238E27FC236}">
                <a16:creationId xmlns:a16="http://schemas.microsoft.com/office/drawing/2014/main" id="{2EC76B67-FFE6-C54C-AA7E-EE9A3AE44297}"/>
              </a:ext>
            </a:extLst>
          </p:cNvPr>
          <p:cNvSpPr>
            <a:spLocks noGrp="1"/>
          </p:cNvSpPr>
          <p:nvPr>
            <p:ph type="body" sz="quarter" idx="13" hasCustomPrompt="1"/>
          </p:nvPr>
        </p:nvSpPr>
        <p:spPr>
          <a:xfrm>
            <a:off x="463293" y="3211463"/>
            <a:ext cx="5171622"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12" name="Title 1">
            <a:extLst>
              <a:ext uri="{FF2B5EF4-FFF2-40B4-BE49-F238E27FC236}">
                <a16:creationId xmlns:a16="http://schemas.microsoft.com/office/drawing/2014/main" id="{D3071E84-2D45-C14F-8E44-09341E0DB28F}"/>
              </a:ext>
            </a:extLst>
          </p:cNvPr>
          <p:cNvSpPr>
            <a:spLocks noGrp="1"/>
          </p:cNvSpPr>
          <p:nvPr>
            <p:ph type="ctrTitle" hasCustomPrompt="1"/>
          </p:nvPr>
        </p:nvSpPr>
        <p:spPr>
          <a:xfrm>
            <a:off x="425765" y="1997849"/>
            <a:ext cx="5214316" cy="1286858"/>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CiscoSansTT Medium" panose="020B0503020201020303" pitchFamily="34" charset="0"/>
                <a:cs typeface="CiscoSansTT ExtraLight"/>
              </a:defRPr>
            </a:lvl1pPr>
          </a:lstStyle>
          <a:p>
            <a:r>
              <a:rPr lang="en-GB"/>
              <a:t>Presentation Title Goes Here</a:t>
            </a:r>
            <a:endParaRPr lang="en-US"/>
          </a:p>
        </p:txBody>
      </p:sp>
      <p:pic>
        <p:nvPicPr>
          <p:cNvPr id="13" name="Picture 12">
            <a:extLst>
              <a:ext uri="{FF2B5EF4-FFF2-40B4-BE49-F238E27FC236}">
                <a16:creationId xmlns:a16="http://schemas.microsoft.com/office/drawing/2014/main" id="{0D809AE5-CC75-41BA-8062-DE249F3B90E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08436" y="2485534"/>
            <a:ext cx="2438399" cy="2431606"/>
          </a:xfrm>
          <a:prstGeom prst="rect">
            <a:avLst/>
          </a:prstGeom>
        </p:spPr>
      </p:pic>
    </p:spTree>
    <p:extLst>
      <p:ext uri="{BB962C8B-B14F-4D97-AF65-F5344CB8AC3E}">
        <p14:creationId xmlns:p14="http://schemas.microsoft.com/office/powerpoint/2010/main" val="39886613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bg2">
                  <a:lumMod val="75000"/>
                </a:schemeClr>
              </a:solidFill>
              <a:latin typeface="CiscoSansTT Medium" panose="020B0503020201020303" pitchFamily="34" charset="-128"/>
              <a:ea typeface="CiscoSansTT Medium" panose="020B0503020201020303" pitchFamily="34" charset="-128"/>
              <a:cs typeface="CiscoSansTT Medium" panose="020B0503020201020303" pitchFamily="34" charset="-128"/>
            </a:endParaRPr>
          </a:p>
        </p:txBody>
      </p:sp>
      <p:sp>
        <p:nvSpPr>
          <p:cNvPr id="3" name="Text Placeholder 9"/>
          <p:cNvSpPr>
            <a:spLocks noGrp="1"/>
          </p:cNvSpPr>
          <p:nvPr>
            <p:ph type="body" sz="quarter" idx="11"/>
          </p:nvPr>
        </p:nvSpPr>
        <p:spPr>
          <a:xfrm>
            <a:off x="468313" y="3916058"/>
            <a:ext cx="5563653"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5744043"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pic>
        <p:nvPicPr>
          <p:cNvPr id="14" name="Picture 13">
            <a:extLst>
              <a:ext uri="{FF2B5EF4-FFF2-40B4-BE49-F238E27FC236}">
                <a16:creationId xmlns:a16="http://schemas.microsoft.com/office/drawing/2014/main" id="{C303A1A3-0015-4F45-AA4A-184DD77C49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6309359" y="2475650"/>
            <a:ext cx="2443941" cy="2437132"/>
          </a:xfrm>
          <a:prstGeom prst="rect">
            <a:avLst/>
          </a:prstGeom>
        </p:spPr>
      </p:pic>
    </p:spTree>
    <p:extLst>
      <p:ext uri="{BB962C8B-B14F-4D97-AF65-F5344CB8AC3E}">
        <p14:creationId xmlns:p14="http://schemas.microsoft.com/office/powerpoint/2010/main" val="3802498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5_Section Title Slide">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bg2">
                  <a:lumMod val="75000"/>
                </a:schemeClr>
              </a:solidFill>
              <a:latin typeface="CiscoSansTT Medium" panose="020B0503020201020303" pitchFamily="34" charset="-128"/>
              <a:ea typeface="CiscoSansTT Medium" panose="020B0503020201020303" pitchFamily="34" charset="-128"/>
              <a:cs typeface="CiscoSansTT Medium" panose="020B0503020201020303" pitchFamily="34" charset="-128"/>
            </a:endParaRPr>
          </a:p>
        </p:txBody>
      </p:sp>
      <p:sp>
        <p:nvSpPr>
          <p:cNvPr id="3" name="Text Placeholder 9"/>
          <p:cNvSpPr>
            <a:spLocks noGrp="1"/>
          </p:cNvSpPr>
          <p:nvPr>
            <p:ph type="body" sz="quarter" idx="11"/>
          </p:nvPr>
        </p:nvSpPr>
        <p:spPr>
          <a:xfrm>
            <a:off x="468313" y="3916058"/>
            <a:ext cx="5563653"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21738" y="1540551"/>
            <a:ext cx="5744043" cy="2278837"/>
          </a:xfrm>
          <a:prstGeom prst="rect">
            <a:avLst/>
          </a:prstGeom>
        </p:spPr>
        <p:txBody>
          <a:bodyPr>
            <a:noAutofit/>
          </a:bodyPr>
          <a:lstStyle>
            <a:lvl1pPr marL="720" indent="0" algn="l">
              <a:lnSpc>
                <a:spcPct val="90000"/>
              </a:lnSpc>
              <a:defRPr sz="4000" b="0" i="0" spc="0" baseline="0">
                <a:solidFill>
                  <a:schemeClr val="bg1"/>
                </a:solidFill>
                <a:latin typeface="CiscoSansTT Medium" panose="020B0503020201020303" pitchFamily="34" charset="0"/>
                <a:cs typeface="CiscoSans Thin"/>
              </a:defRPr>
            </a:lvl1pPr>
          </a:lstStyle>
          <a:p>
            <a:r>
              <a:rPr lang="en-US"/>
              <a:t>Click to edit Master title style</a:t>
            </a:r>
          </a:p>
        </p:txBody>
      </p:sp>
      <p:pic>
        <p:nvPicPr>
          <p:cNvPr id="14" name="Picture 13">
            <a:extLst>
              <a:ext uri="{FF2B5EF4-FFF2-40B4-BE49-F238E27FC236}">
                <a16:creationId xmlns:a16="http://schemas.microsoft.com/office/drawing/2014/main" id="{C303A1A3-0015-4F45-AA4A-184DD77C49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rot="10800000">
            <a:off x="6309359" y="2475650"/>
            <a:ext cx="2443941" cy="2437132"/>
          </a:xfrm>
          <a:prstGeom prst="rect">
            <a:avLst/>
          </a:prstGeom>
        </p:spPr>
      </p:pic>
    </p:spTree>
    <p:extLst>
      <p:ext uri="{BB962C8B-B14F-4D97-AF65-F5344CB8AC3E}">
        <p14:creationId xmlns:p14="http://schemas.microsoft.com/office/powerpoint/2010/main" val="2283732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5570537"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5750927"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pic>
        <p:nvPicPr>
          <p:cNvPr id="13" name="Picture 12" descr="A close up of a logo&#10;&#10;Description automatically generated">
            <a:extLst>
              <a:ext uri="{FF2B5EF4-FFF2-40B4-BE49-F238E27FC236}">
                <a16:creationId xmlns:a16="http://schemas.microsoft.com/office/drawing/2014/main" id="{6FE80FC0-8086-CC4B-B92C-49A3D6C8729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24950" y="2496878"/>
            <a:ext cx="2402625" cy="2402625"/>
          </a:xfrm>
          <a:prstGeom prst="rect">
            <a:avLst/>
          </a:prstGeom>
        </p:spPr>
      </p:pic>
    </p:spTree>
    <p:extLst>
      <p:ext uri="{BB962C8B-B14F-4D97-AF65-F5344CB8AC3E}">
        <p14:creationId xmlns:p14="http://schemas.microsoft.com/office/powerpoint/2010/main" val="209381956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4_Section Title Slide">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2"/>
              </a:solidFill>
            </a:endParaRPr>
          </a:p>
        </p:txBody>
      </p:sp>
      <p:sp>
        <p:nvSpPr>
          <p:cNvPr id="3" name="Text Placeholder 9"/>
          <p:cNvSpPr>
            <a:spLocks noGrp="1"/>
          </p:cNvSpPr>
          <p:nvPr>
            <p:ph type="body" sz="quarter" idx="11"/>
          </p:nvPr>
        </p:nvSpPr>
        <p:spPr>
          <a:xfrm>
            <a:off x="468313" y="3916058"/>
            <a:ext cx="5571337"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14054" y="1540551"/>
            <a:ext cx="5751727" cy="2278837"/>
          </a:xfrm>
          <a:prstGeom prst="rect">
            <a:avLst/>
          </a:prstGeom>
        </p:spPr>
        <p:txBody>
          <a:bodyPr>
            <a:noAutofit/>
          </a:bodyPr>
          <a:lstStyle>
            <a:lvl1pPr marL="720" indent="0" algn="l">
              <a:lnSpc>
                <a:spcPct val="90000"/>
              </a:lnSpc>
              <a:defRPr sz="4000" b="0" i="0" spc="0" baseline="0">
                <a:solidFill>
                  <a:schemeClr val="tx2"/>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r>
              <a:rPr lang="en-US"/>
              <a:t>Click to edit Master title style</a:t>
            </a:r>
          </a:p>
        </p:txBody>
      </p:sp>
      <p:pic>
        <p:nvPicPr>
          <p:cNvPr id="6" name="Picture 5" descr="A close up of a logo&#10;&#10;Description automatically generated">
            <a:extLst>
              <a:ext uri="{FF2B5EF4-FFF2-40B4-BE49-F238E27FC236}">
                <a16:creationId xmlns:a16="http://schemas.microsoft.com/office/drawing/2014/main" id="{FCF6C66D-E68F-B94C-B9A8-E89ED056AD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24950" y="2496878"/>
            <a:ext cx="2402625" cy="2402625"/>
          </a:xfrm>
          <a:prstGeom prst="rect">
            <a:avLst/>
          </a:prstGeom>
        </p:spPr>
      </p:pic>
    </p:spTree>
    <p:extLst>
      <p:ext uri="{BB962C8B-B14F-4D97-AF65-F5344CB8AC3E}">
        <p14:creationId xmlns:p14="http://schemas.microsoft.com/office/powerpoint/2010/main" val="297009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Subtitle 2">
            <a:extLst>
              <a:ext uri="{FF2B5EF4-FFF2-40B4-BE49-F238E27FC236}">
                <a16:creationId xmlns:a16="http://schemas.microsoft.com/office/drawing/2014/main" id="{CF17D5A5-749D-944B-B7A1-A82C7393F065}"/>
              </a:ext>
            </a:extLst>
          </p:cNvPr>
          <p:cNvSpPr>
            <a:spLocks noGrp="1"/>
          </p:cNvSpPr>
          <p:nvPr>
            <p:ph type="subTitle" idx="1" hasCustomPrompt="1"/>
          </p:nvPr>
        </p:nvSpPr>
        <p:spPr>
          <a:xfrm>
            <a:off x="469496" y="3868768"/>
            <a:ext cx="5164565" cy="288131"/>
          </a:xfrm>
          <a:prstGeom prst="rect">
            <a:avLst/>
          </a:prstGeom>
        </p:spPr>
        <p:txBody>
          <a:bodyPr lIns="91420" tIns="45710" rIns="91420" bIns="45710" anchor="b" anchorCtr="0">
            <a:noAutofit/>
          </a:bodyPr>
          <a:lstStyle>
            <a:lvl1pPr marL="0" indent="0" algn="l">
              <a:buNone/>
              <a:defRPr sz="1600" b="0" i="0" baseline="0">
                <a:solidFill>
                  <a:schemeClr val="bg1"/>
                </a:solidFill>
                <a:latin typeface="CiscoSansTT Medium" panose="020B0503020201020303" pitchFamily="34" charset="0"/>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9" name="Text Placeholder 38">
            <a:extLst>
              <a:ext uri="{FF2B5EF4-FFF2-40B4-BE49-F238E27FC236}">
                <a16:creationId xmlns:a16="http://schemas.microsoft.com/office/drawing/2014/main" id="{62D8C539-F11C-D540-B0CF-A5D29426E1A3}"/>
              </a:ext>
            </a:extLst>
          </p:cNvPr>
          <p:cNvSpPr>
            <a:spLocks noGrp="1"/>
          </p:cNvSpPr>
          <p:nvPr>
            <p:ph type="body" sz="quarter" idx="11" hasCustomPrompt="1"/>
          </p:nvPr>
        </p:nvSpPr>
        <p:spPr>
          <a:xfrm>
            <a:off x="469496" y="4108765"/>
            <a:ext cx="5164565"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0" name="Text Placeholder 40">
            <a:extLst>
              <a:ext uri="{FF2B5EF4-FFF2-40B4-BE49-F238E27FC236}">
                <a16:creationId xmlns:a16="http://schemas.microsoft.com/office/drawing/2014/main" id="{66FDC49E-A2F8-6E4E-BC51-E764F415F6C6}"/>
              </a:ext>
            </a:extLst>
          </p:cNvPr>
          <p:cNvSpPr>
            <a:spLocks noGrp="1"/>
          </p:cNvSpPr>
          <p:nvPr>
            <p:ph type="body" sz="quarter" idx="12" hasCustomPrompt="1"/>
          </p:nvPr>
        </p:nvSpPr>
        <p:spPr>
          <a:xfrm>
            <a:off x="469496" y="4348762"/>
            <a:ext cx="5164565"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1" name="Text Placeholder 2">
            <a:extLst>
              <a:ext uri="{FF2B5EF4-FFF2-40B4-BE49-F238E27FC236}">
                <a16:creationId xmlns:a16="http://schemas.microsoft.com/office/drawing/2014/main" id="{2EC76B67-FFE6-C54C-AA7E-EE9A3AE44297}"/>
              </a:ext>
            </a:extLst>
          </p:cNvPr>
          <p:cNvSpPr>
            <a:spLocks noGrp="1"/>
          </p:cNvSpPr>
          <p:nvPr>
            <p:ph type="body" sz="quarter" idx="13" hasCustomPrompt="1"/>
          </p:nvPr>
        </p:nvSpPr>
        <p:spPr>
          <a:xfrm>
            <a:off x="463293" y="3211463"/>
            <a:ext cx="5171622"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12" name="Title 1">
            <a:extLst>
              <a:ext uri="{FF2B5EF4-FFF2-40B4-BE49-F238E27FC236}">
                <a16:creationId xmlns:a16="http://schemas.microsoft.com/office/drawing/2014/main" id="{D3071E84-2D45-C14F-8E44-09341E0DB28F}"/>
              </a:ext>
            </a:extLst>
          </p:cNvPr>
          <p:cNvSpPr>
            <a:spLocks noGrp="1"/>
          </p:cNvSpPr>
          <p:nvPr>
            <p:ph type="ctrTitle" hasCustomPrompt="1"/>
          </p:nvPr>
        </p:nvSpPr>
        <p:spPr>
          <a:xfrm>
            <a:off x="425765" y="1997849"/>
            <a:ext cx="5214316" cy="1286858"/>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CiscoSansTT Medium" panose="020B0503020201020303" pitchFamily="34" charset="0"/>
                <a:cs typeface="CiscoSansTT ExtraLight"/>
              </a:defRPr>
            </a:lvl1pPr>
          </a:lstStyle>
          <a:p>
            <a:r>
              <a:rPr lang="en-GB"/>
              <a:t>Presentation Title Goes Here</a:t>
            </a:r>
            <a:endParaRPr lang="en-US"/>
          </a:p>
        </p:txBody>
      </p:sp>
      <p:pic>
        <p:nvPicPr>
          <p:cNvPr id="13" name="Picture 12">
            <a:extLst>
              <a:ext uri="{FF2B5EF4-FFF2-40B4-BE49-F238E27FC236}">
                <a16:creationId xmlns:a16="http://schemas.microsoft.com/office/drawing/2014/main" id="{0D809AE5-CC75-41BA-8062-DE249F3B90E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6308436" y="2485534"/>
            <a:ext cx="2438399" cy="2431606"/>
          </a:xfrm>
          <a:prstGeom prst="rect">
            <a:avLst/>
          </a:prstGeom>
        </p:spPr>
      </p:pic>
    </p:spTree>
    <p:extLst>
      <p:ext uri="{BB962C8B-B14F-4D97-AF65-F5344CB8AC3E}">
        <p14:creationId xmlns:p14="http://schemas.microsoft.com/office/powerpoint/2010/main" val="18590669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bg2">
                  <a:lumMod val="75000"/>
                </a:schemeClr>
              </a:solidFill>
              <a:latin typeface="CiscoSansTT Medium" panose="020B0503020201020303" pitchFamily="34" charset="-128"/>
              <a:ea typeface="CiscoSansTT Medium" panose="020B0503020201020303" pitchFamily="34" charset="-128"/>
              <a:cs typeface="CiscoSansTT Medium" panose="020B0503020201020303" pitchFamily="34" charset="-128"/>
            </a:endParaRPr>
          </a:p>
        </p:txBody>
      </p:sp>
      <p:sp>
        <p:nvSpPr>
          <p:cNvPr id="3" name="Text Placeholder 9"/>
          <p:cNvSpPr>
            <a:spLocks noGrp="1"/>
          </p:cNvSpPr>
          <p:nvPr>
            <p:ph type="body" sz="quarter" idx="11"/>
          </p:nvPr>
        </p:nvSpPr>
        <p:spPr>
          <a:xfrm>
            <a:off x="468313" y="3916058"/>
            <a:ext cx="5563653"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5744043"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pic>
        <p:nvPicPr>
          <p:cNvPr id="14" name="Picture 13">
            <a:extLst>
              <a:ext uri="{FF2B5EF4-FFF2-40B4-BE49-F238E27FC236}">
                <a16:creationId xmlns:a16="http://schemas.microsoft.com/office/drawing/2014/main" id="{C303A1A3-0015-4F45-AA4A-184DD77C49B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0800000">
            <a:off x="6309359" y="2475650"/>
            <a:ext cx="2443941" cy="2437132"/>
          </a:xfrm>
          <a:prstGeom prst="rect">
            <a:avLst/>
          </a:prstGeom>
        </p:spPr>
      </p:pic>
    </p:spTree>
    <p:extLst>
      <p:ext uri="{BB962C8B-B14F-4D97-AF65-F5344CB8AC3E}">
        <p14:creationId xmlns:p14="http://schemas.microsoft.com/office/powerpoint/2010/main" val="2511346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_Section Title Slide">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bg2">
                  <a:lumMod val="75000"/>
                </a:schemeClr>
              </a:solidFill>
              <a:latin typeface="CiscoSansTT Medium" panose="020B0503020201020303" pitchFamily="34" charset="-128"/>
              <a:ea typeface="CiscoSansTT Medium" panose="020B0503020201020303" pitchFamily="34" charset="-128"/>
              <a:cs typeface="CiscoSansTT Medium" panose="020B0503020201020303" pitchFamily="34" charset="-128"/>
            </a:endParaRPr>
          </a:p>
        </p:txBody>
      </p:sp>
      <p:sp>
        <p:nvSpPr>
          <p:cNvPr id="3" name="Text Placeholder 9"/>
          <p:cNvSpPr>
            <a:spLocks noGrp="1"/>
          </p:cNvSpPr>
          <p:nvPr>
            <p:ph type="body" sz="quarter" idx="11"/>
          </p:nvPr>
        </p:nvSpPr>
        <p:spPr>
          <a:xfrm>
            <a:off x="468313" y="3916058"/>
            <a:ext cx="5563653"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21738" y="1540551"/>
            <a:ext cx="5744043" cy="2278837"/>
          </a:xfrm>
          <a:prstGeom prst="rect">
            <a:avLst/>
          </a:prstGeom>
        </p:spPr>
        <p:txBody>
          <a:bodyPr>
            <a:noAutofit/>
          </a:bodyPr>
          <a:lstStyle>
            <a:lvl1pPr marL="720" indent="0" algn="l">
              <a:lnSpc>
                <a:spcPct val="90000"/>
              </a:lnSpc>
              <a:defRPr sz="4000" b="0" i="0" spc="0" baseline="0">
                <a:solidFill>
                  <a:schemeClr val="bg1"/>
                </a:solidFill>
                <a:latin typeface="CiscoSansTT Medium" panose="020B0503020201020303" pitchFamily="34" charset="0"/>
                <a:cs typeface="CiscoSans Thin"/>
              </a:defRPr>
            </a:lvl1pPr>
          </a:lstStyle>
          <a:p>
            <a:r>
              <a:rPr lang="en-US"/>
              <a:t>Click to edit Master title style</a:t>
            </a:r>
          </a:p>
        </p:txBody>
      </p:sp>
      <p:pic>
        <p:nvPicPr>
          <p:cNvPr id="14" name="Picture 13">
            <a:extLst>
              <a:ext uri="{FF2B5EF4-FFF2-40B4-BE49-F238E27FC236}">
                <a16:creationId xmlns:a16="http://schemas.microsoft.com/office/drawing/2014/main" id="{C303A1A3-0015-4F45-AA4A-184DD77C49B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rot="10800000">
            <a:off x="6309359" y="2475650"/>
            <a:ext cx="2443941" cy="2437132"/>
          </a:xfrm>
          <a:prstGeom prst="rect">
            <a:avLst/>
          </a:prstGeom>
        </p:spPr>
      </p:pic>
    </p:spTree>
    <p:extLst>
      <p:ext uri="{BB962C8B-B14F-4D97-AF65-F5344CB8AC3E}">
        <p14:creationId xmlns:p14="http://schemas.microsoft.com/office/powerpoint/2010/main" val="2805618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5570537"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5750927"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pic>
        <p:nvPicPr>
          <p:cNvPr id="13" name="Picture 12" descr="A close up of a logo&#10;&#10;Description automatically generated">
            <a:extLst>
              <a:ext uri="{FF2B5EF4-FFF2-40B4-BE49-F238E27FC236}">
                <a16:creationId xmlns:a16="http://schemas.microsoft.com/office/drawing/2014/main" id="{6FE80FC0-8086-CC4B-B92C-49A3D6C8729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24950" y="2496878"/>
            <a:ext cx="2402625" cy="2402625"/>
          </a:xfrm>
          <a:prstGeom prst="rect">
            <a:avLst/>
          </a:prstGeom>
        </p:spPr>
      </p:pic>
    </p:spTree>
    <p:extLst>
      <p:ext uri="{BB962C8B-B14F-4D97-AF65-F5344CB8AC3E}">
        <p14:creationId xmlns:p14="http://schemas.microsoft.com/office/powerpoint/2010/main" val="3638803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1"/>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7148223" y="341314"/>
            <a:ext cx="1995777" cy="1121313"/>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sz="1800"/>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400790102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_Section Title Slide">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2"/>
              </a:solidFill>
            </a:endParaRPr>
          </a:p>
        </p:txBody>
      </p:sp>
      <p:sp>
        <p:nvSpPr>
          <p:cNvPr id="3" name="Text Placeholder 9"/>
          <p:cNvSpPr>
            <a:spLocks noGrp="1"/>
          </p:cNvSpPr>
          <p:nvPr>
            <p:ph type="body" sz="quarter" idx="11"/>
          </p:nvPr>
        </p:nvSpPr>
        <p:spPr>
          <a:xfrm>
            <a:off x="468313" y="3916058"/>
            <a:ext cx="5571337"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14054" y="1540551"/>
            <a:ext cx="5751727" cy="2278837"/>
          </a:xfrm>
          <a:prstGeom prst="rect">
            <a:avLst/>
          </a:prstGeom>
        </p:spPr>
        <p:txBody>
          <a:bodyPr>
            <a:noAutofit/>
          </a:bodyPr>
          <a:lstStyle>
            <a:lvl1pPr marL="720" indent="0" algn="l">
              <a:lnSpc>
                <a:spcPct val="90000"/>
              </a:lnSpc>
              <a:defRPr sz="4000" b="0" i="0" spc="0" baseline="0">
                <a:solidFill>
                  <a:schemeClr val="tx2"/>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r>
              <a:rPr lang="en-US"/>
              <a:t>Click to edit Master title style</a:t>
            </a:r>
          </a:p>
        </p:txBody>
      </p:sp>
      <p:pic>
        <p:nvPicPr>
          <p:cNvPr id="6" name="Picture 5" descr="A close up of a logo&#10;&#10;Description automatically generated">
            <a:extLst>
              <a:ext uri="{FF2B5EF4-FFF2-40B4-BE49-F238E27FC236}">
                <a16:creationId xmlns:a16="http://schemas.microsoft.com/office/drawing/2014/main" id="{FCF6C66D-E68F-B94C-B9A8-E89ED056AD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24950" y="2496878"/>
            <a:ext cx="2402625" cy="2402625"/>
          </a:xfrm>
          <a:prstGeom prst="rect">
            <a:avLst/>
          </a:prstGeom>
        </p:spPr>
      </p:pic>
    </p:spTree>
    <p:extLst>
      <p:ext uri="{BB962C8B-B14F-4D97-AF65-F5344CB8AC3E}">
        <p14:creationId xmlns:p14="http://schemas.microsoft.com/office/powerpoint/2010/main" val="2797176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911435"/>
            <a:ext cx="8139112" cy="525016"/>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0110827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216403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0078227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lvl="0" defTabSz="610744" fontAlgn="auto">
              <a:spcBef>
                <a:spcPts val="0"/>
              </a:spcBef>
              <a:spcAft>
                <a:spcPts val="0"/>
              </a:spcAft>
            </a:pPr>
            <a:r>
              <a:rPr lang="en-US" sz="600" spc="20" baseline="0">
                <a:solidFill>
                  <a:schemeClr val="bg1"/>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42260760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201738"/>
            <a:ext cx="8345488"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System Font Regular"/>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Wingdings" pitchFamily="2" charset="2"/>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Placeholder 5">
            <a:extLst>
              <a:ext uri="{FF2B5EF4-FFF2-40B4-BE49-F238E27FC236}">
                <a16:creationId xmlns:a16="http://schemas.microsoft.com/office/drawing/2014/main" id="{C7FEADB2-AD3A-F549-B47F-97104172DEC6}"/>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3" name="Text Placeholder 2">
            <a:extLst>
              <a:ext uri="{FF2B5EF4-FFF2-40B4-BE49-F238E27FC236}">
                <a16:creationId xmlns:a16="http://schemas.microsoft.com/office/drawing/2014/main" id="{304EDBAB-670A-4A40-87CD-6F89161874F9}"/>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298660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2A57303-57F4-1540-8604-245818D6FFD3}"/>
              </a:ext>
            </a:extLst>
          </p:cNvPr>
          <p:cNvSpPr>
            <a:spLocks noGrp="1"/>
          </p:cNvSpPr>
          <p:nvPr>
            <p:ph type="body" sz="quarter" idx="10"/>
          </p:nvPr>
        </p:nvSpPr>
        <p:spPr>
          <a:xfrm>
            <a:off x="437766" y="1205898"/>
            <a:ext cx="3981833"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System Font Regular"/>
              <a:buChar char="-"/>
              <a:defRPr sz="1800" b="0" i="0">
                <a:solidFill>
                  <a:schemeClr val="tx1"/>
                </a:solidFill>
                <a:latin typeface="+mn-lt"/>
                <a:cs typeface="CiscoSans ExtraLight"/>
              </a:defRPr>
            </a:lvl2pPr>
            <a:lvl3pPr marL="403225" indent="-114300">
              <a:buClr>
                <a:schemeClr val="tx1"/>
              </a:buClr>
              <a:buSzPct val="60000"/>
              <a:buFont typeface="Wingdings" pitchFamily="2" charset="2"/>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AF67672A-73D2-BE4C-B718-D2C83CF3A7B0}"/>
              </a:ext>
            </a:extLst>
          </p:cNvPr>
          <p:cNvSpPr>
            <a:spLocks noGrp="1"/>
          </p:cNvSpPr>
          <p:nvPr>
            <p:ph type="body" sz="quarter" idx="11"/>
          </p:nvPr>
        </p:nvSpPr>
        <p:spPr>
          <a:xfrm>
            <a:off x="4755866" y="1205898"/>
            <a:ext cx="4027388"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System Font Regular"/>
              <a:buChar char="-"/>
              <a:defRPr sz="1800" b="0" i="0">
                <a:solidFill>
                  <a:schemeClr val="tx1"/>
                </a:solidFill>
                <a:latin typeface="+mn-lt"/>
                <a:cs typeface="CiscoSans ExtraLight"/>
              </a:defRPr>
            </a:lvl2pPr>
            <a:lvl3pPr marL="403225" indent="-114300">
              <a:buClr>
                <a:schemeClr val="tx1"/>
              </a:buClr>
              <a:buSzPct val="60000"/>
              <a:buFont typeface="Wingdings" pitchFamily="2" charset="2"/>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5">
            <a:extLst>
              <a:ext uri="{FF2B5EF4-FFF2-40B4-BE49-F238E27FC236}">
                <a16:creationId xmlns:a16="http://schemas.microsoft.com/office/drawing/2014/main" id="{4520F0B5-94AE-B44D-B24F-F124C0C8258B}"/>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6" name="Text Placeholder 2">
            <a:extLst>
              <a:ext uri="{FF2B5EF4-FFF2-40B4-BE49-F238E27FC236}">
                <a16:creationId xmlns:a16="http://schemas.microsoft.com/office/drawing/2014/main" id="{C7B54836-C713-3D49-9455-73DD8FD84EE2}"/>
              </a:ext>
            </a:extLst>
          </p:cNvPr>
          <p:cNvSpPr>
            <a:spLocks noGrp="1"/>
          </p:cNvSpPr>
          <p:nvPr>
            <p:ph type="body" sz="quarter" idx="12"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cxnSp>
        <p:nvCxnSpPr>
          <p:cNvPr id="17" name="Straight Connector 16">
            <a:extLst>
              <a:ext uri="{FF2B5EF4-FFF2-40B4-BE49-F238E27FC236}">
                <a16:creationId xmlns:a16="http://schemas.microsoft.com/office/drawing/2014/main" id="{59EC5474-269C-B945-8E79-EC78B38B5EF0}"/>
              </a:ext>
            </a:extLst>
          </p:cNvPr>
          <p:cNvCxnSpPr>
            <a:cxnSpLocks/>
          </p:cNvCxnSpPr>
          <p:nvPr userDrawn="1"/>
        </p:nvCxnSpPr>
        <p:spPr>
          <a:xfrm>
            <a:off x="4588739" y="1181988"/>
            <a:ext cx="0" cy="328841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7901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201738"/>
            <a:ext cx="8345488"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System Font Regular"/>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Wingdings" pitchFamily="2" charset="2"/>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Placeholder 5">
            <a:extLst>
              <a:ext uri="{FF2B5EF4-FFF2-40B4-BE49-F238E27FC236}">
                <a16:creationId xmlns:a16="http://schemas.microsoft.com/office/drawing/2014/main" id="{C7FEADB2-AD3A-F549-B47F-97104172DEC6}"/>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3" name="Text Placeholder 2">
            <a:extLst>
              <a:ext uri="{FF2B5EF4-FFF2-40B4-BE49-F238E27FC236}">
                <a16:creationId xmlns:a16="http://schemas.microsoft.com/office/drawing/2014/main" id="{304EDBAB-670A-4A40-87CD-6F89161874F9}"/>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3288349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2A57303-57F4-1540-8604-245818D6FFD3}"/>
              </a:ext>
            </a:extLst>
          </p:cNvPr>
          <p:cNvSpPr>
            <a:spLocks noGrp="1"/>
          </p:cNvSpPr>
          <p:nvPr>
            <p:ph type="body" sz="quarter" idx="10"/>
          </p:nvPr>
        </p:nvSpPr>
        <p:spPr>
          <a:xfrm>
            <a:off x="437766" y="1205898"/>
            <a:ext cx="3981833"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System Font Regular"/>
              <a:buChar char="-"/>
              <a:defRPr sz="1800" b="0" i="0">
                <a:solidFill>
                  <a:schemeClr val="tx1"/>
                </a:solidFill>
                <a:latin typeface="+mn-lt"/>
                <a:cs typeface="CiscoSans ExtraLight"/>
              </a:defRPr>
            </a:lvl2pPr>
            <a:lvl3pPr marL="403225" indent="-114300">
              <a:buClr>
                <a:schemeClr val="tx1"/>
              </a:buClr>
              <a:buSzPct val="60000"/>
              <a:buFont typeface="Wingdings" pitchFamily="2" charset="2"/>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AF67672A-73D2-BE4C-B718-D2C83CF3A7B0}"/>
              </a:ext>
            </a:extLst>
          </p:cNvPr>
          <p:cNvSpPr>
            <a:spLocks noGrp="1"/>
          </p:cNvSpPr>
          <p:nvPr>
            <p:ph type="body" sz="quarter" idx="11"/>
          </p:nvPr>
        </p:nvSpPr>
        <p:spPr>
          <a:xfrm>
            <a:off x="4755866" y="1205898"/>
            <a:ext cx="4027388"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System Font Regular"/>
              <a:buChar char="-"/>
              <a:defRPr sz="1800" b="0" i="0">
                <a:solidFill>
                  <a:schemeClr val="tx1"/>
                </a:solidFill>
                <a:latin typeface="+mn-lt"/>
                <a:cs typeface="CiscoSans ExtraLight"/>
              </a:defRPr>
            </a:lvl2pPr>
            <a:lvl3pPr marL="403225" indent="-114300">
              <a:buClr>
                <a:schemeClr val="tx1"/>
              </a:buClr>
              <a:buSzPct val="60000"/>
              <a:buFont typeface="Wingdings" pitchFamily="2" charset="2"/>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Placeholder 5">
            <a:extLst>
              <a:ext uri="{FF2B5EF4-FFF2-40B4-BE49-F238E27FC236}">
                <a16:creationId xmlns:a16="http://schemas.microsoft.com/office/drawing/2014/main" id="{4520F0B5-94AE-B44D-B24F-F124C0C8258B}"/>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6" name="Text Placeholder 2">
            <a:extLst>
              <a:ext uri="{FF2B5EF4-FFF2-40B4-BE49-F238E27FC236}">
                <a16:creationId xmlns:a16="http://schemas.microsoft.com/office/drawing/2014/main" id="{C7B54836-C713-3D49-9455-73DD8FD84EE2}"/>
              </a:ext>
            </a:extLst>
          </p:cNvPr>
          <p:cNvSpPr>
            <a:spLocks noGrp="1"/>
          </p:cNvSpPr>
          <p:nvPr>
            <p:ph type="body" sz="quarter" idx="12"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cxnSp>
        <p:nvCxnSpPr>
          <p:cNvPr id="17" name="Straight Connector 16">
            <a:extLst>
              <a:ext uri="{FF2B5EF4-FFF2-40B4-BE49-F238E27FC236}">
                <a16:creationId xmlns:a16="http://schemas.microsoft.com/office/drawing/2014/main" id="{59EC5474-269C-B945-8E79-EC78B38B5EF0}"/>
              </a:ext>
            </a:extLst>
          </p:cNvPr>
          <p:cNvCxnSpPr>
            <a:cxnSpLocks/>
          </p:cNvCxnSpPr>
          <p:nvPr userDrawn="1"/>
        </p:nvCxnSpPr>
        <p:spPr>
          <a:xfrm>
            <a:off x="4588739" y="1181988"/>
            <a:ext cx="0" cy="328841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533644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11" name="Title Placeholder 5">
            <a:extLst>
              <a:ext uri="{FF2B5EF4-FFF2-40B4-BE49-F238E27FC236}">
                <a16:creationId xmlns:a16="http://schemas.microsoft.com/office/drawing/2014/main" id="{C7FEADB2-AD3A-F549-B47F-97104172DEC6}"/>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3" name="Text Placeholder 2">
            <a:extLst>
              <a:ext uri="{FF2B5EF4-FFF2-40B4-BE49-F238E27FC236}">
                <a16:creationId xmlns:a16="http://schemas.microsoft.com/office/drawing/2014/main" id="{304EDBAB-670A-4A40-87CD-6F89161874F9}"/>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1616641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9232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1C60E0-69BA-A44D-98FB-30DFEA0276DA}"/>
              </a:ext>
            </a:extLst>
          </p:cNvPr>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6">
            <a:extLst>
              <a:ext uri="{FF2B5EF4-FFF2-40B4-BE49-F238E27FC236}">
                <a16:creationId xmlns:a16="http://schemas.microsoft.com/office/drawing/2014/main" id="{E1DB2A30-6207-F54C-94E3-2C723D8F5C6C}"/>
              </a:ext>
            </a:extLst>
          </p:cNvPr>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6364831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Closing Slid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1C60E0-69BA-A44D-98FB-30DFEA0276DA}"/>
              </a:ext>
            </a:extLst>
          </p:cNvPr>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drawing&#10;&#10;Description automatically generated">
            <a:extLst>
              <a:ext uri="{FF2B5EF4-FFF2-40B4-BE49-F238E27FC236}">
                <a16:creationId xmlns:a16="http://schemas.microsoft.com/office/drawing/2014/main" id="{74F96371-A2F7-2C48-9CD2-6B308144BE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25308" y="1840230"/>
            <a:ext cx="3493384" cy="1463040"/>
          </a:xfrm>
          <a:prstGeom prst="rect">
            <a:avLst/>
          </a:prstGeom>
        </p:spPr>
      </p:pic>
    </p:spTree>
    <p:extLst>
      <p:ext uri="{BB962C8B-B14F-4D97-AF65-F5344CB8AC3E}">
        <p14:creationId xmlns:p14="http://schemas.microsoft.com/office/powerpoint/2010/main" val="34134217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1C60E0-69BA-A44D-98FB-30DFEA0276DA}"/>
              </a:ext>
            </a:extLst>
          </p:cNvPr>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drawing&#10;&#10;Description automatically generated">
            <a:extLst>
              <a:ext uri="{FF2B5EF4-FFF2-40B4-BE49-F238E27FC236}">
                <a16:creationId xmlns:a16="http://schemas.microsoft.com/office/drawing/2014/main" id="{74F96371-A2F7-2C48-9CD2-6B308144BE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25308" y="1840230"/>
            <a:ext cx="3493384" cy="1463040"/>
          </a:xfrm>
          <a:prstGeom prst="rect">
            <a:avLst/>
          </a:prstGeom>
        </p:spPr>
      </p:pic>
    </p:spTree>
    <p:extLst>
      <p:ext uri="{BB962C8B-B14F-4D97-AF65-F5344CB8AC3E}">
        <p14:creationId xmlns:p14="http://schemas.microsoft.com/office/powerpoint/2010/main" val="408676185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38139012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and Table">
    <p:spTree>
      <p:nvGrpSpPr>
        <p:cNvPr id="1" name=""/>
        <p:cNvGrpSpPr/>
        <p:nvPr/>
      </p:nvGrpSpPr>
      <p:grpSpPr>
        <a:xfrm>
          <a:off x="0" y="0"/>
          <a:ext cx="0" cy="0"/>
          <a:chOff x="0" y="0"/>
          <a:chExt cx="0" cy="0"/>
        </a:xfrm>
      </p:grpSpPr>
      <p:sp>
        <p:nvSpPr>
          <p:cNvPr id="13" name="Table Placeholder 11">
            <a:extLst>
              <a:ext uri="{FF2B5EF4-FFF2-40B4-BE49-F238E27FC236}">
                <a16:creationId xmlns:a16="http://schemas.microsoft.com/office/drawing/2014/main" id="{DD5244D6-4B28-6F41-81EF-13C4538F8DCE}"/>
              </a:ext>
            </a:extLst>
          </p:cNvPr>
          <p:cNvSpPr>
            <a:spLocks noGrp="1"/>
          </p:cNvSpPr>
          <p:nvPr>
            <p:ph type="tbl" sz="quarter" idx="12"/>
          </p:nvPr>
        </p:nvSpPr>
        <p:spPr>
          <a:xfrm>
            <a:off x="437766" y="1307244"/>
            <a:ext cx="8345488"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14" name="Text Placeholder 9">
            <a:extLst>
              <a:ext uri="{FF2B5EF4-FFF2-40B4-BE49-F238E27FC236}">
                <a16:creationId xmlns:a16="http://schemas.microsoft.com/office/drawing/2014/main" id="{BCA1463C-D47D-FD42-8ADA-AC613062966F}"/>
              </a:ext>
            </a:extLst>
          </p:cNvPr>
          <p:cNvSpPr>
            <a:spLocks noGrp="1"/>
          </p:cNvSpPr>
          <p:nvPr>
            <p:ph type="body" sz="quarter" idx="11"/>
          </p:nvPr>
        </p:nvSpPr>
        <p:spPr>
          <a:xfrm>
            <a:off x="437767" y="425372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15" name="Title Placeholder 5">
            <a:extLst>
              <a:ext uri="{FF2B5EF4-FFF2-40B4-BE49-F238E27FC236}">
                <a16:creationId xmlns:a16="http://schemas.microsoft.com/office/drawing/2014/main" id="{1E409FAE-5484-C746-A328-F639633B8455}"/>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7" name="Text Placeholder 2">
            <a:extLst>
              <a:ext uri="{FF2B5EF4-FFF2-40B4-BE49-F238E27FC236}">
                <a16:creationId xmlns:a16="http://schemas.microsoft.com/office/drawing/2014/main" id="{99A8607C-D808-D54C-9A79-69FDE51D98FE}"/>
              </a:ext>
            </a:extLst>
          </p:cNvPr>
          <p:cNvSpPr>
            <a:spLocks noGrp="1"/>
          </p:cNvSpPr>
          <p:nvPr>
            <p:ph type="body" sz="quarter" idx="13"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300398162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and Chart">
    <p:spTree>
      <p:nvGrpSpPr>
        <p:cNvPr id="1" name=""/>
        <p:cNvGrpSpPr/>
        <p:nvPr/>
      </p:nvGrpSpPr>
      <p:grpSpPr>
        <a:xfrm>
          <a:off x="0" y="0"/>
          <a:ext cx="0" cy="0"/>
          <a:chOff x="0" y="0"/>
          <a:chExt cx="0" cy="0"/>
        </a:xfrm>
      </p:grpSpPr>
      <p:sp>
        <p:nvSpPr>
          <p:cNvPr id="13" name="Chart Placeholder 2">
            <a:extLst>
              <a:ext uri="{FF2B5EF4-FFF2-40B4-BE49-F238E27FC236}">
                <a16:creationId xmlns:a16="http://schemas.microsoft.com/office/drawing/2014/main" id="{B66D719C-9ED8-3240-A6B6-30B6B4C1BF16}"/>
              </a:ext>
            </a:extLst>
          </p:cNvPr>
          <p:cNvSpPr>
            <a:spLocks noGrp="1"/>
          </p:cNvSpPr>
          <p:nvPr>
            <p:ph type="chart" sz="quarter" idx="10"/>
          </p:nvPr>
        </p:nvSpPr>
        <p:spPr>
          <a:xfrm>
            <a:off x="437766" y="1316038"/>
            <a:ext cx="8345488"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4" name="Text Placeholder 9">
            <a:extLst>
              <a:ext uri="{FF2B5EF4-FFF2-40B4-BE49-F238E27FC236}">
                <a16:creationId xmlns:a16="http://schemas.microsoft.com/office/drawing/2014/main" id="{87B36921-DC6A-AD42-880B-057343927334}"/>
              </a:ext>
            </a:extLst>
          </p:cNvPr>
          <p:cNvSpPr>
            <a:spLocks noGrp="1"/>
          </p:cNvSpPr>
          <p:nvPr>
            <p:ph type="body" sz="quarter" idx="11"/>
          </p:nvPr>
        </p:nvSpPr>
        <p:spPr>
          <a:xfrm>
            <a:off x="437767" y="42625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15" name="Title Placeholder 5">
            <a:extLst>
              <a:ext uri="{FF2B5EF4-FFF2-40B4-BE49-F238E27FC236}">
                <a16:creationId xmlns:a16="http://schemas.microsoft.com/office/drawing/2014/main" id="{AE611B23-A1B7-6841-A852-EE55D6EDEB21}"/>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6" name="Text Placeholder 2">
            <a:extLst>
              <a:ext uri="{FF2B5EF4-FFF2-40B4-BE49-F238E27FC236}">
                <a16:creationId xmlns:a16="http://schemas.microsoft.com/office/drawing/2014/main" id="{367DE8CE-A9B6-7642-881E-90EA672367C0}"/>
              </a:ext>
            </a:extLst>
          </p:cNvPr>
          <p:cNvSpPr>
            <a:spLocks noGrp="1"/>
          </p:cNvSpPr>
          <p:nvPr>
            <p:ph type="body" sz="quarter" idx="12"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40031830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CA0DD98F-4674-B44E-8F12-6913E1BDF3F0}"/>
              </a:ext>
            </a:extLst>
          </p:cNvPr>
          <p:cNvSpPr>
            <a:spLocks noGrp="1"/>
          </p:cNvSpPr>
          <p:nvPr>
            <p:ph idx="1"/>
          </p:nvPr>
        </p:nvSpPr>
        <p:spPr>
          <a:xfrm>
            <a:off x="443416" y="1236906"/>
            <a:ext cx="834548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16" name="Title Placeholder 5">
            <a:extLst>
              <a:ext uri="{FF2B5EF4-FFF2-40B4-BE49-F238E27FC236}">
                <a16:creationId xmlns:a16="http://schemas.microsoft.com/office/drawing/2014/main" id="{99ABC876-F5F1-084A-92B2-A9B891D26238}"/>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7" name="Text Placeholder 2">
            <a:extLst>
              <a:ext uri="{FF2B5EF4-FFF2-40B4-BE49-F238E27FC236}">
                <a16:creationId xmlns:a16="http://schemas.microsoft.com/office/drawing/2014/main" id="{A297C991-6496-DB4B-BCCE-4E48F2B810B3}"/>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182484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Half_Page_Blank">
    <p:spTree>
      <p:nvGrpSpPr>
        <p:cNvPr id="1" name=""/>
        <p:cNvGrpSpPr/>
        <p:nvPr/>
      </p:nvGrpSpPr>
      <p:grpSpPr>
        <a:xfrm>
          <a:off x="0" y="0"/>
          <a:ext cx="0" cy="0"/>
          <a:chOff x="0" y="0"/>
          <a:chExt cx="0" cy="0"/>
        </a:xfrm>
      </p:grpSpPr>
      <p:sp>
        <p:nvSpPr>
          <p:cNvPr id="5" name="Rectangle 4"/>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2" name="Text Placeholder 3">
            <a:extLst>
              <a:ext uri="{FF2B5EF4-FFF2-40B4-BE49-F238E27FC236}">
                <a16:creationId xmlns:a16="http://schemas.microsoft.com/office/drawing/2014/main" id="{0F8664A7-8E54-EB49-B75F-134239EB1183}"/>
              </a:ext>
            </a:extLst>
          </p:cNvPr>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bg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bg2"/>
              </a:buClr>
              <a:buSzPct val="60000"/>
              <a:buFont typeface="System Font Regular"/>
              <a:buChar char="-"/>
              <a:defRPr sz="1800" b="0" i="0">
                <a:solidFill>
                  <a:schemeClr val="bg1"/>
                </a:solidFill>
                <a:latin typeface="+mn-lt"/>
                <a:ea typeface="CiscoSansTT Thin" charset="0"/>
                <a:cs typeface="CiscoSansTT Thin" charset="0"/>
              </a:defRPr>
            </a:lvl2pPr>
            <a:lvl3pPr marL="403225" indent="-114300">
              <a:buClr>
                <a:schemeClr val="bg2"/>
              </a:buClr>
              <a:buSzPct val="60000"/>
              <a:buFont typeface="Wingdings" pitchFamily="2" charset="2"/>
              <a:buChar char="§"/>
              <a:defRPr sz="1600" b="0" i="0">
                <a:solidFill>
                  <a:schemeClr val="bg1"/>
                </a:solidFill>
                <a:latin typeface="+mn-lt"/>
                <a:ea typeface="CiscoSansTT Thin" charset="0"/>
                <a:cs typeface="CiscoSansTT Thin" charset="0"/>
              </a:defRPr>
            </a:lvl3pPr>
            <a:lvl4pPr marL="517525" indent="-114300">
              <a:buClr>
                <a:schemeClr val="bg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bg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93772750"/>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Half_Page_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7B3C32-4A8B-DB4C-A5B4-0F6D7200C97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3" name="Title Placeholder 5">
            <a:extLst>
              <a:ext uri="{FF2B5EF4-FFF2-40B4-BE49-F238E27FC236}">
                <a16:creationId xmlns:a16="http://schemas.microsoft.com/office/drawing/2014/main" id="{9CFC980D-5B8F-764F-87CF-3F60C9A84849}"/>
              </a:ext>
            </a:extLst>
          </p:cNvPr>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
        <p:nvSpPr>
          <p:cNvPr id="14" name="Text Placeholder 5">
            <a:extLst>
              <a:ext uri="{FF2B5EF4-FFF2-40B4-BE49-F238E27FC236}">
                <a16:creationId xmlns:a16="http://schemas.microsoft.com/office/drawing/2014/main" id="{CA95DFE1-4AB1-6749-8A31-1634BFDD0B16}"/>
              </a:ext>
            </a:extLst>
          </p:cNvPr>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System Font Regular"/>
              <a:buChar char="-"/>
              <a:defRPr sz="2400"/>
            </a:lvl2pPr>
            <a:lvl3pPr marL="457200" indent="-117475">
              <a:lnSpc>
                <a:spcPct val="100000"/>
              </a:lnSpc>
              <a:buClr>
                <a:schemeClr val="tx1"/>
              </a:buClr>
              <a:buSzPct val="60000"/>
              <a:buFont typeface="Wingdings" pitchFamily="2" charset="2"/>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952944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Half_Page_Text_2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73B9FED-D58F-6E4C-8363-9E64B892746C}"/>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4" name="Text Placeholder 5">
            <a:extLst>
              <a:ext uri="{FF2B5EF4-FFF2-40B4-BE49-F238E27FC236}">
                <a16:creationId xmlns:a16="http://schemas.microsoft.com/office/drawing/2014/main" id="{6D448C64-483E-0841-80BC-B664ED3D93D1}"/>
              </a:ext>
            </a:extLst>
          </p:cNvPr>
          <p:cNvSpPr>
            <a:spLocks noGrp="1"/>
          </p:cNvSpPr>
          <p:nvPr>
            <p:ph type="body" sz="quarter" idx="12"/>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System Font Regular"/>
              <a:buChar char="-"/>
              <a:defRPr sz="2400"/>
            </a:lvl2pPr>
            <a:lvl3pPr marL="457200" indent="-117475">
              <a:lnSpc>
                <a:spcPct val="100000"/>
              </a:lnSpc>
              <a:buClr>
                <a:schemeClr val="tx1"/>
              </a:buClr>
              <a:buSzPct val="60000"/>
              <a:buFont typeface="Wingdings" pitchFamily="2" charset="2"/>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68CD36-7EF3-F94C-A22E-4073F5F5CB42}"/>
              </a:ext>
            </a:extLst>
          </p:cNvPr>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bg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bg2"/>
              </a:buClr>
              <a:buSzPct val="60000"/>
              <a:buFont typeface="System Font Regular"/>
              <a:buChar char="-"/>
              <a:defRPr sz="1800" b="0" i="0">
                <a:solidFill>
                  <a:schemeClr val="bg1"/>
                </a:solidFill>
                <a:latin typeface="+mn-lt"/>
                <a:ea typeface="CiscoSansTT Thin" charset="0"/>
                <a:cs typeface="CiscoSansTT Thin" charset="0"/>
              </a:defRPr>
            </a:lvl2pPr>
            <a:lvl3pPr marL="403225" indent="-114300">
              <a:buClr>
                <a:schemeClr val="bg2"/>
              </a:buClr>
              <a:buSzPct val="60000"/>
              <a:buFont typeface="Wingdings" pitchFamily="2" charset="2"/>
              <a:buChar char="§"/>
              <a:defRPr sz="1600" b="0" i="0">
                <a:solidFill>
                  <a:schemeClr val="bg1"/>
                </a:solidFill>
                <a:latin typeface="+mn-lt"/>
                <a:ea typeface="CiscoSansTT Thin" charset="0"/>
                <a:cs typeface="CiscoSansTT Thin" charset="0"/>
              </a:defRPr>
            </a:lvl3pPr>
            <a:lvl4pPr marL="517525" indent="-114300">
              <a:buClr>
                <a:schemeClr val="bg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bg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itle Placeholder 5">
            <a:extLst>
              <a:ext uri="{FF2B5EF4-FFF2-40B4-BE49-F238E27FC236}">
                <a16:creationId xmlns:a16="http://schemas.microsoft.com/office/drawing/2014/main" id="{FB8D9E3C-38B8-0141-99FB-13F7442D7034}"/>
              </a:ext>
            </a:extLst>
          </p:cNvPr>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87629206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1"/>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1"/>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2951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Half_Page_Picture_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B05025D-99A3-3A4F-B426-C6D31E1F245B}"/>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12" name="Group 11">
            <a:extLst>
              <a:ext uri="{FF2B5EF4-FFF2-40B4-BE49-F238E27FC236}">
                <a16:creationId xmlns:a16="http://schemas.microsoft.com/office/drawing/2014/main" id="{C87D56AB-557E-F547-A204-78F6195A574D}"/>
              </a:ext>
            </a:extLst>
          </p:cNvPr>
          <p:cNvGrpSpPr/>
          <p:nvPr userDrawn="1"/>
        </p:nvGrpSpPr>
        <p:grpSpPr>
          <a:xfrm>
            <a:off x="6439891" y="4651516"/>
            <a:ext cx="2218747" cy="334077"/>
            <a:chOff x="6369131" y="4651516"/>
            <a:chExt cx="2218747" cy="334077"/>
          </a:xfrm>
        </p:grpSpPr>
        <p:sp>
          <p:nvSpPr>
            <p:cNvPr id="13" name="Title 4">
              <a:extLst>
                <a:ext uri="{FF2B5EF4-FFF2-40B4-BE49-F238E27FC236}">
                  <a16:creationId xmlns:a16="http://schemas.microsoft.com/office/drawing/2014/main" id="{ABA5A9DB-EDFE-E54F-9415-D4A53DAA63BF}"/>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4" name="Picture 13">
              <a:extLst>
                <a:ext uri="{FF2B5EF4-FFF2-40B4-BE49-F238E27FC236}">
                  <a16:creationId xmlns:a16="http://schemas.microsoft.com/office/drawing/2014/main" id="{69213231-B4BB-964D-A7F4-D4E342D4F6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5" name="Title Placeholder 5">
            <a:extLst>
              <a:ext uri="{FF2B5EF4-FFF2-40B4-BE49-F238E27FC236}">
                <a16:creationId xmlns:a16="http://schemas.microsoft.com/office/drawing/2014/main" id="{9D42D9E5-15A9-7C42-AEDF-294CCD8C8BD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363495865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Half_Page_Pictur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E7DD27-593D-E245-BC5C-B1D96A297864}"/>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9" name="Picture Placeholder 6">
            <a:extLst>
              <a:ext uri="{FF2B5EF4-FFF2-40B4-BE49-F238E27FC236}">
                <a16:creationId xmlns:a16="http://schemas.microsoft.com/office/drawing/2014/main" id="{4F1243D7-C537-B740-B73A-29329F2DAB6E}"/>
              </a:ext>
            </a:extLst>
          </p:cNvPr>
          <p:cNvSpPr>
            <a:spLocks noGrp="1"/>
          </p:cNvSpPr>
          <p:nvPr>
            <p:ph type="pic" sz="quarter" idx="10"/>
          </p:nvPr>
        </p:nvSpPr>
        <p:spPr>
          <a:xfrm>
            <a:off x="5089525" y="531812"/>
            <a:ext cx="3559175" cy="3940295"/>
          </a:xfrm>
          <a:prstGeom prst="rect">
            <a:avLst/>
          </a:prstGeom>
        </p:spPr>
        <p:txBody>
          <a:bodyPr anchor="ctr" anchorCtr="0"/>
          <a:lstStyle>
            <a:lvl1pPr marL="0" indent="0" algn="ctr">
              <a:buNone/>
              <a:defRPr/>
            </a:lvl1pPr>
          </a:lstStyle>
          <a:p>
            <a:endParaRPr lang="en-US"/>
          </a:p>
        </p:txBody>
      </p:sp>
      <p:grpSp>
        <p:nvGrpSpPr>
          <p:cNvPr id="10" name="Group 9">
            <a:extLst>
              <a:ext uri="{FF2B5EF4-FFF2-40B4-BE49-F238E27FC236}">
                <a16:creationId xmlns:a16="http://schemas.microsoft.com/office/drawing/2014/main" id="{33F4012D-C50C-2646-B81C-59BF401A25E7}"/>
              </a:ext>
            </a:extLst>
          </p:cNvPr>
          <p:cNvGrpSpPr/>
          <p:nvPr userDrawn="1"/>
        </p:nvGrpSpPr>
        <p:grpSpPr>
          <a:xfrm>
            <a:off x="6439891" y="4651516"/>
            <a:ext cx="2218747" cy="334077"/>
            <a:chOff x="6369131" y="4651516"/>
            <a:chExt cx="2218747" cy="334077"/>
          </a:xfrm>
        </p:grpSpPr>
        <p:sp>
          <p:nvSpPr>
            <p:cNvPr id="11" name="Title 4">
              <a:extLst>
                <a:ext uri="{FF2B5EF4-FFF2-40B4-BE49-F238E27FC236}">
                  <a16:creationId xmlns:a16="http://schemas.microsoft.com/office/drawing/2014/main" id="{731FD130-2C48-B140-AA26-F8124FAD5F0F}"/>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2" name="Picture 11">
              <a:extLst>
                <a:ext uri="{FF2B5EF4-FFF2-40B4-BE49-F238E27FC236}">
                  <a16:creationId xmlns:a16="http://schemas.microsoft.com/office/drawing/2014/main" id="{856B8F91-F099-3249-AE28-F4A5F15A78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3" name="Title Placeholder 5">
            <a:extLst>
              <a:ext uri="{FF2B5EF4-FFF2-40B4-BE49-F238E27FC236}">
                <a16:creationId xmlns:a16="http://schemas.microsoft.com/office/drawing/2014/main" id="{0F5602CC-27E8-1B46-B8A3-6CEFFF522C2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303855891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7_Half_Page_Headlin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90A1C-EAED-3C4E-8B09-524C05A8744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9" name="Group 8">
            <a:extLst>
              <a:ext uri="{FF2B5EF4-FFF2-40B4-BE49-F238E27FC236}">
                <a16:creationId xmlns:a16="http://schemas.microsoft.com/office/drawing/2014/main" id="{FF52AA85-CFBD-6941-BCEC-CBD6EE718E77}"/>
              </a:ext>
            </a:extLst>
          </p:cNvPr>
          <p:cNvGrpSpPr/>
          <p:nvPr userDrawn="1"/>
        </p:nvGrpSpPr>
        <p:grpSpPr>
          <a:xfrm>
            <a:off x="6439891" y="4651516"/>
            <a:ext cx="2218747" cy="334077"/>
            <a:chOff x="6369131" y="4651516"/>
            <a:chExt cx="2218747" cy="334077"/>
          </a:xfrm>
        </p:grpSpPr>
        <p:sp>
          <p:nvSpPr>
            <p:cNvPr id="10" name="Title 4">
              <a:extLst>
                <a:ext uri="{FF2B5EF4-FFF2-40B4-BE49-F238E27FC236}">
                  <a16:creationId xmlns:a16="http://schemas.microsoft.com/office/drawing/2014/main" id="{7E2DE276-B838-154F-9B2B-A219BBCFD85E}"/>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4" name="Picture 13">
              <a:extLst>
                <a:ext uri="{FF2B5EF4-FFF2-40B4-BE49-F238E27FC236}">
                  <a16:creationId xmlns:a16="http://schemas.microsoft.com/office/drawing/2014/main" id="{F57488A6-A578-AE44-AB48-C40F031D2DB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1" name="Title Placeholder 5">
            <a:extLst>
              <a:ext uri="{FF2B5EF4-FFF2-40B4-BE49-F238E27FC236}">
                <a16:creationId xmlns:a16="http://schemas.microsoft.com/office/drawing/2014/main" id="{35B68C50-F1B8-0247-B320-A2D37BD552ED}"/>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419893604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8_Half_Page_Picture_Ful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B94A6B-82CC-2D41-B5F6-D1054E813C9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Picture Placeholder 6"/>
          <p:cNvSpPr>
            <a:spLocks noGrp="1"/>
          </p:cNvSpPr>
          <p:nvPr>
            <p:ph type="pic" sz="quarter" idx="10"/>
          </p:nvPr>
        </p:nvSpPr>
        <p:spPr>
          <a:xfrm>
            <a:off x="4572000" y="0"/>
            <a:ext cx="4571999"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6" name="Title Placeholder 5">
            <a:extLst>
              <a:ext uri="{FF2B5EF4-FFF2-40B4-BE49-F238E27FC236}">
                <a16:creationId xmlns:a16="http://schemas.microsoft.com/office/drawing/2014/main" id="{99EAEA15-5C6A-3545-AECF-A598D6AE7BE8}"/>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298862148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9_Half_Page_Char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EFBB98-52D0-C745-9C99-2370167A2965}"/>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Chart Placeholder 5">
            <a:extLst>
              <a:ext uri="{FF2B5EF4-FFF2-40B4-BE49-F238E27FC236}">
                <a16:creationId xmlns:a16="http://schemas.microsoft.com/office/drawing/2014/main" id="{8592B781-607B-6445-BEB7-4AED3AFE8E81}"/>
              </a:ext>
            </a:extLst>
          </p:cNvPr>
          <p:cNvSpPr>
            <a:spLocks noGrp="1"/>
          </p:cNvSpPr>
          <p:nvPr>
            <p:ph type="chart" sz="quarter" idx="10"/>
          </p:nvPr>
        </p:nvSpPr>
        <p:spPr>
          <a:xfrm>
            <a:off x="5089525" y="531814"/>
            <a:ext cx="3559175" cy="3940294"/>
          </a:xfrm>
          <a:prstGeom prst="rect">
            <a:avLst/>
          </a:prstGeom>
        </p:spPr>
        <p:txBody>
          <a:bodyPr anchor="ctr" anchorCtr="0"/>
          <a:lstStyle>
            <a:lvl1pPr marL="0" indent="0" algn="ctr">
              <a:buNone/>
              <a:defRPr/>
            </a:lvl1pPr>
          </a:lstStyle>
          <a:p>
            <a:endParaRPr lang="en-US"/>
          </a:p>
        </p:txBody>
      </p:sp>
      <p:sp>
        <p:nvSpPr>
          <p:cNvPr id="11" name="Rectangle 4">
            <a:extLst>
              <a:ext uri="{FF2B5EF4-FFF2-40B4-BE49-F238E27FC236}">
                <a16:creationId xmlns:a16="http://schemas.microsoft.com/office/drawing/2014/main" id="{72F54329-FD7B-224A-8E53-1F6552281866}"/>
              </a:ext>
            </a:extLst>
          </p:cNvPr>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12" name="Group 11">
            <a:extLst>
              <a:ext uri="{FF2B5EF4-FFF2-40B4-BE49-F238E27FC236}">
                <a16:creationId xmlns:a16="http://schemas.microsoft.com/office/drawing/2014/main" id="{EBC6266F-4534-9249-9148-09C9168AA72E}"/>
              </a:ext>
            </a:extLst>
          </p:cNvPr>
          <p:cNvGrpSpPr/>
          <p:nvPr userDrawn="1"/>
        </p:nvGrpSpPr>
        <p:grpSpPr>
          <a:xfrm>
            <a:off x="6439891" y="4651516"/>
            <a:ext cx="2218747" cy="334077"/>
            <a:chOff x="6369131" y="4651516"/>
            <a:chExt cx="2218747" cy="334077"/>
          </a:xfrm>
        </p:grpSpPr>
        <p:sp>
          <p:nvSpPr>
            <p:cNvPr id="13" name="Title 4">
              <a:extLst>
                <a:ext uri="{FF2B5EF4-FFF2-40B4-BE49-F238E27FC236}">
                  <a16:creationId xmlns:a16="http://schemas.microsoft.com/office/drawing/2014/main" id="{26CC2256-3FD5-3345-941A-3BC6B6EEF089}"/>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7" name="Picture 16">
              <a:extLst>
                <a:ext uri="{FF2B5EF4-FFF2-40B4-BE49-F238E27FC236}">
                  <a16:creationId xmlns:a16="http://schemas.microsoft.com/office/drawing/2014/main" id="{AB42C79A-7B21-8345-8A45-AE94C021A1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4" name="Title Placeholder 5">
            <a:extLst>
              <a:ext uri="{FF2B5EF4-FFF2-40B4-BE49-F238E27FC236}">
                <a16:creationId xmlns:a16="http://schemas.microsoft.com/office/drawing/2014/main" id="{D6FF75CD-19F2-C44C-A6C6-0CC39FFB1C1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2600345398"/>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0_Half_Page_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26C6E4-B1F4-644B-A6A9-611DAAEDB5A9}"/>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9" name="Table Placeholder 6">
            <a:extLst>
              <a:ext uri="{FF2B5EF4-FFF2-40B4-BE49-F238E27FC236}">
                <a16:creationId xmlns:a16="http://schemas.microsoft.com/office/drawing/2014/main" id="{34722CC0-A119-2C42-84FD-477B9683D0DC}"/>
              </a:ext>
            </a:extLst>
          </p:cNvPr>
          <p:cNvSpPr>
            <a:spLocks noGrp="1"/>
          </p:cNvSpPr>
          <p:nvPr>
            <p:ph type="tbl" sz="quarter" idx="10"/>
          </p:nvPr>
        </p:nvSpPr>
        <p:spPr>
          <a:xfrm>
            <a:off x="5089525" y="531812"/>
            <a:ext cx="3559175" cy="3943977"/>
          </a:xfrm>
          <a:prstGeom prst="rect">
            <a:avLst/>
          </a:prstGeom>
        </p:spPr>
        <p:txBody>
          <a:bodyPr anchor="ctr" anchorCtr="0"/>
          <a:lstStyle>
            <a:lvl1pPr marL="0" indent="0" algn="ctr">
              <a:buNone/>
              <a:defRPr/>
            </a:lvl1pPr>
          </a:lstStyle>
          <a:p>
            <a:endParaRPr lang="en-US"/>
          </a:p>
        </p:txBody>
      </p:sp>
      <p:grpSp>
        <p:nvGrpSpPr>
          <p:cNvPr id="13" name="Group 12">
            <a:extLst>
              <a:ext uri="{FF2B5EF4-FFF2-40B4-BE49-F238E27FC236}">
                <a16:creationId xmlns:a16="http://schemas.microsoft.com/office/drawing/2014/main" id="{A946F2D0-D743-684F-897D-A97BBF7CCD41}"/>
              </a:ext>
            </a:extLst>
          </p:cNvPr>
          <p:cNvGrpSpPr/>
          <p:nvPr userDrawn="1"/>
        </p:nvGrpSpPr>
        <p:grpSpPr>
          <a:xfrm>
            <a:off x="6439891" y="4651516"/>
            <a:ext cx="2218747" cy="334077"/>
            <a:chOff x="6369131" y="4651516"/>
            <a:chExt cx="2218747" cy="334077"/>
          </a:xfrm>
        </p:grpSpPr>
        <p:sp>
          <p:nvSpPr>
            <p:cNvPr id="14" name="Title 4">
              <a:extLst>
                <a:ext uri="{FF2B5EF4-FFF2-40B4-BE49-F238E27FC236}">
                  <a16:creationId xmlns:a16="http://schemas.microsoft.com/office/drawing/2014/main" id="{676E1C27-A564-0D4B-A13C-D3A2A7503113}"/>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5" name="Picture 14">
              <a:extLst>
                <a:ext uri="{FF2B5EF4-FFF2-40B4-BE49-F238E27FC236}">
                  <a16:creationId xmlns:a16="http://schemas.microsoft.com/office/drawing/2014/main" id="{36B6FE63-49D1-0C4B-9161-B6C7E011EEA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0" name="Title Placeholder 5">
            <a:extLst>
              <a:ext uri="{FF2B5EF4-FFF2-40B4-BE49-F238E27FC236}">
                <a16:creationId xmlns:a16="http://schemas.microsoft.com/office/drawing/2014/main" id="{5FE06DDA-4342-704C-B3AA-D4BC7D7CEB70}"/>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20841596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3" name="Table Placeholder 11">
            <a:extLst>
              <a:ext uri="{FF2B5EF4-FFF2-40B4-BE49-F238E27FC236}">
                <a16:creationId xmlns:a16="http://schemas.microsoft.com/office/drawing/2014/main" id="{DD5244D6-4B28-6F41-81EF-13C4538F8DCE}"/>
              </a:ext>
            </a:extLst>
          </p:cNvPr>
          <p:cNvSpPr>
            <a:spLocks noGrp="1"/>
          </p:cNvSpPr>
          <p:nvPr>
            <p:ph type="tbl" sz="quarter" idx="12"/>
          </p:nvPr>
        </p:nvSpPr>
        <p:spPr>
          <a:xfrm>
            <a:off x="437766" y="1307244"/>
            <a:ext cx="8345488"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14" name="Text Placeholder 9">
            <a:extLst>
              <a:ext uri="{FF2B5EF4-FFF2-40B4-BE49-F238E27FC236}">
                <a16:creationId xmlns:a16="http://schemas.microsoft.com/office/drawing/2014/main" id="{BCA1463C-D47D-FD42-8ADA-AC613062966F}"/>
              </a:ext>
            </a:extLst>
          </p:cNvPr>
          <p:cNvSpPr>
            <a:spLocks noGrp="1"/>
          </p:cNvSpPr>
          <p:nvPr>
            <p:ph type="body" sz="quarter" idx="11"/>
          </p:nvPr>
        </p:nvSpPr>
        <p:spPr>
          <a:xfrm>
            <a:off x="437767" y="425372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15" name="Title Placeholder 5">
            <a:extLst>
              <a:ext uri="{FF2B5EF4-FFF2-40B4-BE49-F238E27FC236}">
                <a16:creationId xmlns:a16="http://schemas.microsoft.com/office/drawing/2014/main" id="{1E409FAE-5484-C746-A328-F639633B8455}"/>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7" name="Text Placeholder 2">
            <a:extLst>
              <a:ext uri="{FF2B5EF4-FFF2-40B4-BE49-F238E27FC236}">
                <a16:creationId xmlns:a16="http://schemas.microsoft.com/office/drawing/2014/main" id="{99A8607C-D808-D54C-9A79-69FDE51D98FE}"/>
              </a:ext>
            </a:extLst>
          </p:cNvPr>
          <p:cNvSpPr>
            <a:spLocks noGrp="1"/>
          </p:cNvSpPr>
          <p:nvPr>
            <p:ph type="body" sz="quarter" idx="13"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7298023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13" name="Chart Placeholder 2">
            <a:extLst>
              <a:ext uri="{FF2B5EF4-FFF2-40B4-BE49-F238E27FC236}">
                <a16:creationId xmlns:a16="http://schemas.microsoft.com/office/drawing/2014/main" id="{B66D719C-9ED8-3240-A6B6-30B6B4C1BF16}"/>
              </a:ext>
            </a:extLst>
          </p:cNvPr>
          <p:cNvSpPr>
            <a:spLocks noGrp="1"/>
          </p:cNvSpPr>
          <p:nvPr>
            <p:ph type="chart" sz="quarter" idx="10"/>
          </p:nvPr>
        </p:nvSpPr>
        <p:spPr>
          <a:xfrm>
            <a:off x="437766" y="1316038"/>
            <a:ext cx="8345488"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4" name="Text Placeholder 9">
            <a:extLst>
              <a:ext uri="{FF2B5EF4-FFF2-40B4-BE49-F238E27FC236}">
                <a16:creationId xmlns:a16="http://schemas.microsoft.com/office/drawing/2014/main" id="{87B36921-DC6A-AD42-880B-057343927334}"/>
              </a:ext>
            </a:extLst>
          </p:cNvPr>
          <p:cNvSpPr>
            <a:spLocks noGrp="1"/>
          </p:cNvSpPr>
          <p:nvPr>
            <p:ph type="body" sz="quarter" idx="11"/>
          </p:nvPr>
        </p:nvSpPr>
        <p:spPr>
          <a:xfrm>
            <a:off x="437767" y="42625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15" name="Title Placeholder 5">
            <a:extLst>
              <a:ext uri="{FF2B5EF4-FFF2-40B4-BE49-F238E27FC236}">
                <a16:creationId xmlns:a16="http://schemas.microsoft.com/office/drawing/2014/main" id="{AE611B23-A1B7-6841-A852-EE55D6EDEB21}"/>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6" name="Text Placeholder 2">
            <a:extLst>
              <a:ext uri="{FF2B5EF4-FFF2-40B4-BE49-F238E27FC236}">
                <a16:creationId xmlns:a16="http://schemas.microsoft.com/office/drawing/2014/main" id="{367DE8CE-A9B6-7642-881E-90EA672367C0}"/>
              </a:ext>
            </a:extLst>
          </p:cNvPr>
          <p:cNvSpPr>
            <a:spLocks noGrp="1"/>
          </p:cNvSpPr>
          <p:nvPr>
            <p:ph type="body" sz="quarter" idx="12"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188253960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Multi_Slide">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CA0DD98F-4674-B44E-8F12-6913E1BDF3F0}"/>
              </a:ext>
            </a:extLst>
          </p:cNvPr>
          <p:cNvSpPr>
            <a:spLocks noGrp="1"/>
          </p:cNvSpPr>
          <p:nvPr>
            <p:ph idx="1"/>
          </p:nvPr>
        </p:nvSpPr>
        <p:spPr>
          <a:xfrm>
            <a:off x="443416" y="1236906"/>
            <a:ext cx="834548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16" name="Title Placeholder 5">
            <a:extLst>
              <a:ext uri="{FF2B5EF4-FFF2-40B4-BE49-F238E27FC236}">
                <a16:creationId xmlns:a16="http://schemas.microsoft.com/office/drawing/2014/main" id="{99ABC876-F5F1-084A-92B2-A9B891D26238}"/>
              </a:ext>
            </a:extLst>
          </p:cNvPr>
          <p:cNvSpPr>
            <a:spLocks noGrp="1"/>
          </p:cNvSpPr>
          <p:nvPr>
            <p:ph type="title"/>
          </p:nvPr>
        </p:nvSpPr>
        <p:spPr bwMode="auto">
          <a:xfrm>
            <a:off x="437766" y="196174"/>
            <a:ext cx="8345488" cy="535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20" rIns="91424" bIns="0" numCol="1" anchor="b" anchorCtr="0" compatLnSpc="1">
            <a:prstTxWarp prst="textNoShape">
              <a:avLst/>
            </a:prstTxWarp>
          </a:bodyPr>
          <a:lstStyle/>
          <a:p>
            <a:pPr lvl="0"/>
            <a:r>
              <a:rPr lang="en-GB"/>
              <a:t>Headline</a:t>
            </a:r>
          </a:p>
        </p:txBody>
      </p:sp>
      <p:sp>
        <p:nvSpPr>
          <p:cNvPr id="17" name="Text Placeholder 2">
            <a:extLst>
              <a:ext uri="{FF2B5EF4-FFF2-40B4-BE49-F238E27FC236}">
                <a16:creationId xmlns:a16="http://schemas.microsoft.com/office/drawing/2014/main" id="{A297C991-6496-DB4B-BCCE-4E48F2B810B3}"/>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Tree>
    <p:extLst>
      <p:ext uri="{BB962C8B-B14F-4D97-AF65-F5344CB8AC3E}">
        <p14:creationId xmlns:p14="http://schemas.microsoft.com/office/powerpoint/2010/main" val="253822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2" name="Text Placeholder 3">
            <a:extLst>
              <a:ext uri="{FF2B5EF4-FFF2-40B4-BE49-F238E27FC236}">
                <a16:creationId xmlns:a16="http://schemas.microsoft.com/office/drawing/2014/main" id="{0F8664A7-8E54-EB49-B75F-134239EB1183}"/>
              </a:ext>
            </a:extLst>
          </p:cNvPr>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bg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bg2"/>
              </a:buClr>
              <a:buSzPct val="60000"/>
              <a:buFont typeface="System Font Regular"/>
              <a:buChar char="-"/>
              <a:defRPr sz="1800" b="0" i="0">
                <a:solidFill>
                  <a:schemeClr val="bg1"/>
                </a:solidFill>
                <a:latin typeface="+mn-lt"/>
                <a:ea typeface="CiscoSansTT Thin" charset="0"/>
                <a:cs typeface="CiscoSansTT Thin" charset="0"/>
              </a:defRPr>
            </a:lvl2pPr>
            <a:lvl3pPr marL="403225" indent="-114300">
              <a:buClr>
                <a:schemeClr val="bg2"/>
              </a:buClr>
              <a:buSzPct val="60000"/>
              <a:buFont typeface="Wingdings" pitchFamily="2" charset="2"/>
              <a:buChar char="§"/>
              <a:defRPr sz="1600" b="0" i="0">
                <a:solidFill>
                  <a:schemeClr val="bg1"/>
                </a:solidFill>
                <a:latin typeface="+mn-lt"/>
                <a:ea typeface="CiscoSansTT Thin" charset="0"/>
                <a:cs typeface="CiscoSansTT Thin" charset="0"/>
              </a:defRPr>
            </a:lvl3pPr>
            <a:lvl4pPr marL="517525" indent="-114300">
              <a:buClr>
                <a:schemeClr val="bg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bg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78144366"/>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a:prstGeom prst="rect">
            <a:avLst/>
          </a:prstGeom>
        </p:spPr>
        <p:txBody>
          <a:bodyPr/>
          <a:lstStyle>
            <a:lvl1pPr>
              <a:defRPr/>
            </a:lvl1pPr>
            <a:lvl2pPr>
              <a:defRPr/>
            </a:lvl2pPr>
            <a:lvl3pPr>
              <a:defRPr/>
            </a:lvl3pPr>
          </a:lstStyle>
          <a:p>
            <a:pPr lvl="0"/>
            <a:r>
              <a:rPr lang="en-US"/>
              <a:t>First level (use “Indent More” or “Indent Less” to format sub-bullet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6763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7B3C32-4A8B-DB4C-A5B4-0F6D7200C97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3" name="Title Placeholder 5">
            <a:extLst>
              <a:ext uri="{FF2B5EF4-FFF2-40B4-BE49-F238E27FC236}">
                <a16:creationId xmlns:a16="http://schemas.microsoft.com/office/drawing/2014/main" id="{9CFC980D-5B8F-764F-87CF-3F60C9A84849}"/>
              </a:ext>
            </a:extLst>
          </p:cNvPr>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
        <p:nvSpPr>
          <p:cNvPr id="14" name="Text Placeholder 5">
            <a:extLst>
              <a:ext uri="{FF2B5EF4-FFF2-40B4-BE49-F238E27FC236}">
                <a16:creationId xmlns:a16="http://schemas.microsoft.com/office/drawing/2014/main" id="{CA95DFE1-4AB1-6749-8A31-1634BFDD0B16}"/>
              </a:ext>
            </a:extLst>
          </p:cNvPr>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System Font Regular"/>
              <a:buChar char="-"/>
              <a:defRPr sz="2400"/>
            </a:lvl2pPr>
            <a:lvl3pPr marL="457200" indent="-117475">
              <a:lnSpc>
                <a:spcPct val="100000"/>
              </a:lnSpc>
              <a:buClr>
                <a:schemeClr val="tx1"/>
              </a:buClr>
              <a:buSzPct val="60000"/>
              <a:buFont typeface="Wingdings" pitchFamily="2" charset="2"/>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454715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73B9FED-D58F-6E4C-8363-9E64B892746C}"/>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1  Cisco and/or its affiliates. All rights reserved.   Cisco Confidential</a:t>
            </a:r>
          </a:p>
        </p:txBody>
      </p:sp>
      <p:sp>
        <p:nvSpPr>
          <p:cNvPr id="14" name="Text Placeholder 5">
            <a:extLst>
              <a:ext uri="{FF2B5EF4-FFF2-40B4-BE49-F238E27FC236}">
                <a16:creationId xmlns:a16="http://schemas.microsoft.com/office/drawing/2014/main" id="{6D448C64-483E-0841-80BC-B664ED3D93D1}"/>
              </a:ext>
            </a:extLst>
          </p:cNvPr>
          <p:cNvSpPr>
            <a:spLocks noGrp="1"/>
          </p:cNvSpPr>
          <p:nvPr>
            <p:ph type="body" sz="quarter" idx="12"/>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System Font Regular"/>
              <a:buChar char="-"/>
              <a:defRPr sz="2400"/>
            </a:lvl2pPr>
            <a:lvl3pPr marL="457200" indent="-117475">
              <a:lnSpc>
                <a:spcPct val="100000"/>
              </a:lnSpc>
              <a:buClr>
                <a:schemeClr val="tx1"/>
              </a:buClr>
              <a:buSzPct val="60000"/>
              <a:buFont typeface="Wingdings" pitchFamily="2" charset="2"/>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68CD36-7EF3-F94C-A22E-4073F5F5CB42}"/>
              </a:ext>
            </a:extLst>
          </p:cNvPr>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bg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bg2"/>
              </a:buClr>
              <a:buSzPct val="60000"/>
              <a:buFont typeface="System Font Regular"/>
              <a:buChar char="-"/>
              <a:defRPr sz="1800" b="0" i="0">
                <a:solidFill>
                  <a:schemeClr val="bg1"/>
                </a:solidFill>
                <a:latin typeface="+mn-lt"/>
                <a:ea typeface="CiscoSansTT Thin" charset="0"/>
                <a:cs typeface="CiscoSansTT Thin" charset="0"/>
              </a:defRPr>
            </a:lvl2pPr>
            <a:lvl3pPr marL="403225" indent="-114300">
              <a:buClr>
                <a:schemeClr val="bg2"/>
              </a:buClr>
              <a:buSzPct val="60000"/>
              <a:buFont typeface="Wingdings" pitchFamily="2" charset="2"/>
              <a:buChar char="§"/>
              <a:defRPr sz="1600" b="0" i="0">
                <a:solidFill>
                  <a:schemeClr val="bg1"/>
                </a:solidFill>
                <a:latin typeface="+mn-lt"/>
                <a:ea typeface="CiscoSansTT Thin" charset="0"/>
                <a:cs typeface="CiscoSansTT Thin" charset="0"/>
              </a:defRPr>
            </a:lvl3pPr>
            <a:lvl4pPr marL="517525" indent="-114300">
              <a:buClr>
                <a:schemeClr val="bg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bg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itle Placeholder 5">
            <a:extLst>
              <a:ext uri="{FF2B5EF4-FFF2-40B4-BE49-F238E27FC236}">
                <a16:creationId xmlns:a16="http://schemas.microsoft.com/office/drawing/2014/main" id="{FB8D9E3C-38B8-0141-99FB-13F7442D7034}"/>
              </a:ext>
            </a:extLst>
          </p:cNvPr>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3232213680"/>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B05025D-99A3-3A4F-B426-C6D31E1F245B}"/>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12" name="Group 11">
            <a:extLst>
              <a:ext uri="{FF2B5EF4-FFF2-40B4-BE49-F238E27FC236}">
                <a16:creationId xmlns:a16="http://schemas.microsoft.com/office/drawing/2014/main" id="{C87D56AB-557E-F547-A204-78F6195A574D}"/>
              </a:ext>
            </a:extLst>
          </p:cNvPr>
          <p:cNvGrpSpPr/>
          <p:nvPr userDrawn="1"/>
        </p:nvGrpSpPr>
        <p:grpSpPr>
          <a:xfrm>
            <a:off x="6439891" y="4651516"/>
            <a:ext cx="2218747" cy="334077"/>
            <a:chOff x="6369131" y="4651516"/>
            <a:chExt cx="2218747" cy="334077"/>
          </a:xfrm>
        </p:grpSpPr>
        <p:sp>
          <p:nvSpPr>
            <p:cNvPr id="13" name="Title 4">
              <a:extLst>
                <a:ext uri="{FF2B5EF4-FFF2-40B4-BE49-F238E27FC236}">
                  <a16:creationId xmlns:a16="http://schemas.microsoft.com/office/drawing/2014/main" id="{ABA5A9DB-EDFE-E54F-9415-D4A53DAA63BF}"/>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4" name="Picture 13">
              <a:extLst>
                <a:ext uri="{FF2B5EF4-FFF2-40B4-BE49-F238E27FC236}">
                  <a16:creationId xmlns:a16="http://schemas.microsoft.com/office/drawing/2014/main" id="{69213231-B4BB-964D-A7F4-D4E342D4F6B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5" name="Title Placeholder 5">
            <a:extLst>
              <a:ext uri="{FF2B5EF4-FFF2-40B4-BE49-F238E27FC236}">
                <a16:creationId xmlns:a16="http://schemas.microsoft.com/office/drawing/2014/main" id="{9D42D9E5-15A9-7C42-AEDF-294CCD8C8BD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272113635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E7DD27-593D-E245-BC5C-B1D96A297864}"/>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9" name="Picture Placeholder 6">
            <a:extLst>
              <a:ext uri="{FF2B5EF4-FFF2-40B4-BE49-F238E27FC236}">
                <a16:creationId xmlns:a16="http://schemas.microsoft.com/office/drawing/2014/main" id="{4F1243D7-C537-B740-B73A-29329F2DAB6E}"/>
              </a:ext>
            </a:extLst>
          </p:cNvPr>
          <p:cNvSpPr>
            <a:spLocks noGrp="1"/>
          </p:cNvSpPr>
          <p:nvPr>
            <p:ph type="pic" sz="quarter" idx="10"/>
          </p:nvPr>
        </p:nvSpPr>
        <p:spPr>
          <a:xfrm>
            <a:off x="5089525" y="531812"/>
            <a:ext cx="3559175" cy="3940295"/>
          </a:xfrm>
          <a:prstGeom prst="rect">
            <a:avLst/>
          </a:prstGeom>
        </p:spPr>
        <p:txBody>
          <a:bodyPr anchor="ctr" anchorCtr="0"/>
          <a:lstStyle>
            <a:lvl1pPr marL="0" indent="0" algn="ctr">
              <a:buNone/>
              <a:defRPr/>
            </a:lvl1pPr>
          </a:lstStyle>
          <a:p>
            <a:endParaRPr lang="en-US"/>
          </a:p>
        </p:txBody>
      </p:sp>
      <p:grpSp>
        <p:nvGrpSpPr>
          <p:cNvPr id="10" name="Group 9">
            <a:extLst>
              <a:ext uri="{FF2B5EF4-FFF2-40B4-BE49-F238E27FC236}">
                <a16:creationId xmlns:a16="http://schemas.microsoft.com/office/drawing/2014/main" id="{33F4012D-C50C-2646-B81C-59BF401A25E7}"/>
              </a:ext>
            </a:extLst>
          </p:cNvPr>
          <p:cNvGrpSpPr/>
          <p:nvPr userDrawn="1"/>
        </p:nvGrpSpPr>
        <p:grpSpPr>
          <a:xfrm>
            <a:off x="6439891" y="4651516"/>
            <a:ext cx="2218747" cy="334077"/>
            <a:chOff x="6369131" y="4651516"/>
            <a:chExt cx="2218747" cy="334077"/>
          </a:xfrm>
        </p:grpSpPr>
        <p:sp>
          <p:nvSpPr>
            <p:cNvPr id="11" name="Title 4">
              <a:extLst>
                <a:ext uri="{FF2B5EF4-FFF2-40B4-BE49-F238E27FC236}">
                  <a16:creationId xmlns:a16="http://schemas.microsoft.com/office/drawing/2014/main" id="{731FD130-2C48-B140-AA26-F8124FAD5F0F}"/>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2" name="Picture 11">
              <a:extLst>
                <a:ext uri="{FF2B5EF4-FFF2-40B4-BE49-F238E27FC236}">
                  <a16:creationId xmlns:a16="http://schemas.microsoft.com/office/drawing/2014/main" id="{856B8F91-F099-3249-AE28-F4A5F15A78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3" name="Title Placeholder 5">
            <a:extLst>
              <a:ext uri="{FF2B5EF4-FFF2-40B4-BE49-F238E27FC236}">
                <a16:creationId xmlns:a16="http://schemas.microsoft.com/office/drawing/2014/main" id="{0F5602CC-27E8-1B46-B8A3-6CEFFF522C2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333323880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90A1C-EAED-3C4E-8B09-524C05A8744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9" name="Group 8">
            <a:extLst>
              <a:ext uri="{FF2B5EF4-FFF2-40B4-BE49-F238E27FC236}">
                <a16:creationId xmlns:a16="http://schemas.microsoft.com/office/drawing/2014/main" id="{FF52AA85-CFBD-6941-BCEC-CBD6EE718E77}"/>
              </a:ext>
            </a:extLst>
          </p:cNvPr>
          <p:cNvGrpSpPr/>
          <p:nvPr userDrawn="1"/>
        </p:nvGrpSpPr>
        <p:grpSpPr>
          <a:xfrm>
            <a:off x="6439891" y="4651516"/>
            <a:ext cx="2218747" cy="334077"/>
            <a:chOff x="6369131" y="4651516"/>
            <a:chExt cx="2218747" cy="334077"/>
          </a:xfrm>
        </p:grpSpPr>
        <p:sp>
          <p:nvSpPr>
            <p:cNvPr id="10" name="Title 4">
              <a:extLst>
                <a:ext uri="{FF2B5EF4-FFF2-40B4-BE49-F238E27FC236}">
                  <a16:creationId xmlns:a16="http://schemas.microsoft.com/office/drawing/2014/main" id="{7E2DE276-B838-154F-9B2B-A219BBCFD85E}"/>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4" name="Picture 13">
              <a:extLst>
                <a:ext uri="{FF2B5EF4-FFF2-40B4-BE49-F238E27FC236}">
                  <a16:creationId xmlns:a16="http://schemas.microsoft.com/office/drawing/2014/main" id="{F57488A6-A578-AE44-AB48-C40F031D2DB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1" name="Title Placeholder 5">
            <a:extLst>
              <a:ext uri="{FF2B5EF4-FFF2-40B4-BE49-F238E27FC236}">
                <a16:creationId xmlns:a16="http://schemas.microsoft.com/office/drawing/2014/main" id="{35B68C50-F1B8-0247-B320-A2D37BD552ED}"/>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315087584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B94A6B-82CC-2D41-B5F6-D1054E813C91}"/>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7" name="Picture Placeholder 6"/>
          <p:cNvSpPr>
            <a:spLocks noGrp="1"/>
          </p:cNvSpPr>
          <p:nvPr>
            <p:ph type="pic" sz="quarter" idx="10"/>
          </p:nvPr>
        </p:nvSpPr>
        <p:spPr>
          <a:xfrm>
            <a:off x="4572000" y="0"/>
            <a:ext cx="4571999"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6" name="Title Placeholder 5">
            <a:extLst>
              <a:ext uri="{FF2B5EF4-FFF2-40B4-BE49-F238E27FC236}">
                <a16:creationId xmlns:a16="http://schemas.microsoft.com/office/drawing/2014/main" id="{99EAEA15-5C6A-3545-AECF-A598D6AE7BE8}"/>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29391334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EFBB98-52D0-C745-9C99-2370167A2965}"/>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9" name="Chart Placeholder 5">
            <a:extLst>
              <a:ext uri="{FF2B5EF4-FFF2-40B4-BE49-F238E27FC236}">
                <a16:creationId xmlns:a16="http://schemas.microsoft.com/office/drawing/2014/main" id="{8592B781-607B-6445-BEB7-4AED3AFE8E81}"/>
              </a:ext>
            </a:extLst>
          </p:cNvPr>
          <p:cNvSpPr>
            <a:spLocks noGrp="1"/>
          </p:cNvSpPr>
          <p:nvPr>
            <p:ph type="chart" sz="quarter" idx="10"/>
          </p:nvPr>
        </p:nvSpPr>
        <p:spPr>
          <a:xfrm>
            <a:off x="5089525" y="531814"/>
            <a:ext cx="3559175" cy="3940294"/>
          </a:xfrm>
          <a:prstGeom prst="rect">
            <a:avLst/>
          </a:prstGeom>
        </p:spPr>
        <p:txBody>
          <a:bodyPr anchor="ctr" anchorCtr="0"/>
          <a:lstStyle>
            <a:lvl1pPr marL="0" indent="0" algn="ctr">
              <a:buNone/>
              <a:defRPr/>
            </a:lvl1pPr>
          </a:lstStyle>
          <a:p>
            <a:endParaRPr lang="en-US"/>
          </a:p>
        </p:txBody>
      </p:sp>
      <p:sp>
        <p:nvSpPr>
          <p:cNvPr id="11" name="Rectangle 4">
            <a:extLst>
              <a:ext uri="{FF2B5EF4-FFF2-40B4-BE49-F238E27FC236}">
                <a16:creationId xmlns:a16="http://schemas.microsoft.com/office/drawing/2014/main" id="{72F54329-FD7B-224A-8E53-1F6552281866}"/>
              </a:ext>
            </a:extLst>
          </p:cNvPr>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grpSp>
        <p:nvGrpSpPr>
          <p:cNvPr id="12" name="Group 11">
            <a:extLst>
              <a:ext uri="{FF2B5EF4-FFF2-40B4-BE49-F238E27FC236}">
                <a16:creationId xmlns:a16="http://schemas.microsoft.com/office/drawing/2014/main" id="{EBC6266F-4534-9249-9148-09C9168AA72E}"/>
              </a:ext>
            </a:extLst>
          </p:cNvPr>
          <p:cNvGrpSpPr/>
          <p:nvPr userDrawn="1"/>
        </p:nvGrpSpPr>
        <p:grpSpPr>
          <a:xfrm>
            <a:off x="6439891" y="4651516"/>
            <a:ext cx="2218747" cy="334077"/>
            <a:chOff x="6369131" y="4651516"/>
            <a:chExt cx="2218747" cy="334077"/>
          </a:xfrm>
        </p:grpSpPr>
        <p:sp>
          <p:nvSpPr>
            <p:cNvPr id="13" name="Title 4">
              <a:extLst>
                <a:ext uri="{FF2B5EF4-FFF2-40B4-BE49-F238E27FC236}">
                  <a16:creationId xmlns:a16="http://schemas.microsoft.com/office/drawing/2014/main" id="{26CC2256-3FD5-3345-941A-3BC6B6EEF089}"/>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7" name="Picture 16">
              <a:extLst>
                <a:ext uri="{FF2B5EF4-FFF2-40B4-BE49-F238E27FC236}">
                  <a16:creationId xmlns:a16="http://schemas.microsoft.com/office/drawing/2014/main" id="{AB42C79A-7B21-8345-8A45-AE94C021A1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4" name="Title Placeholder 5">
            <a:extLst>
              <a:ext uri="{FF2B5EF4-FFF2-40B4-BE49-F238E27FC236}">
                <a16:creationId xmlns:a16="http://schemas.microsoft.com/office/drawing/2014/main" id="{D6FF75CD-19F2-C44C-A6C6-0CC39FFB1C12}"/>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3626675960"/>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26C6E4-B1F4-644B-A6A9-611DAAEDB5A9}"/>
              </a:ext>
            </a:extLst>
          </p:cNvPr>
          <p:cNvSpPr/>
          <p:nvPr userDrawn="1"/>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
        <p:nvSpPr>
          <p:cNvPr id="9" name="Table Placeholder 6">
            <a:extLst>
              <a:ext uri="{FF2B5EF4-FFF2-40B4-BE49-F238E27FC236}">
                <a16:creationId xmlns:a16="http://schemas.microsoft.com/office/drawing/2014/main" id="{34722CC0-A119-2C42-84FD-477B9683D0DC}"/>
              </a:ext>
            </a:extLst>
          </p:cNvPr>
          <p:cNvSpPr>
            <a:spLocks noGrp="1"/>
          </p:cNvSpPr>
          <p:nvPr>
            <p:ph type="tbl" sz="quarter" idx="10"/>
          </p:nvPr>
        </p:nvSpPr>
        <p:spPr>
          <a:xfrm>
            <a:off x="5089525" y="531812"/>
            <a:ext cx="3559175" cy="3943977"/>
          </a:xfrm>
          <a:prstGeom prst="rect">
            <a:avLst/>
          </a:prstGeom>
        </p:spPr>
        <p:txBody>
          <a:bodyPr anchor="ctr" anchorCtr="0"/>
          <a:lstStyle>
            <a:lvl1pPr marL="0" indent="0" algn="ctr">
              <a:buNone/>
              <a:defRPr/>
            </a:lvl1pPr>
          </a:lstStyle>
          <a:p>
            <a:endParaRPr lang="en-US"/>
          </a:p>
        </p:txBody>
      </p:sp>
      <p:grpSp>
        <p:nvGrpSpPr>
          <p:cNvPr id="13" name="Group 12">
            <a:extLst>
              <a:ext uri="{FF2B5EF4-FFF2-40B4-BE49-F238E27FC236}">
                <a16:creationId xmlns:a16="http://schemas.microsoft.com/office/drawing/2014/main" id="{A946F2D0-D743-684F-897D-A97BBF7CCD41}"/>
              </a:ext>
            </a:extLst>
          </p:cNvPr>
          <p:cNvGrpSpPr/>
          <p:nvPr userDrawn="1"/>
        </p:nvGrpSpPr>
        <p:grpSpPr>
          <a:xfrm>
            <a:off x="6439891" y="4651516"/>
            <a:ext cx="2218747" cy="334077"/>
            <a:chOff x="6369131" y="4651516"/>
            <a:chExt cx="2218747" cy="334077"/>
          </a:xfrm>
        </p:grpSpPr>
        <p:sp>
          <p:nvSpPr>
            <p:cNvPr id="14" name="Title 4">
              <a:extLst>
                <a:ext uri="{FF2B5EF4-FFF2-40B4-BE49-F238E27FC236}">
                  <a16:creationId xmlns:a16="http://schemas.microsoft.com/office/drawing/2014/main" id="{676E1C27-A564-0D4B-A13C-D3A2A7503113}"/>
                </a:ext>
              </a:extLst>
            </p:cNvPr>
            <p:cNvSpPr txBox="1">
              <a:spLocks/>
            </p:cNvSpPr>
            <p:nvPr userDrawn="1"/>
          </p:nvSpPr>
          <p:spPr>
            <a:xfrm>
              <a:off x="6369131" y="4651516"/>
              <a:ext cx="1905641" cy="334077"/>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1000">
                  <a:solidFill>
                    <a:schemeClr val="bg1"/>
                  </a:solidFill>
                </a:rPr>
                <a:t>Customer Solutions Marketing</a:t>
              </a:r>
            </a:p>
          </p:txBody>
        </p:sp>
        <p:pic>
          <p:nvPicPr>
            <p:cNvPr id="15" name="Picture 14">
              <a:extLst>
                <a:ext uri="{FF2B5EF4-FFF2-40B4-BE49-F238E27FC236}">
                  <a16:creationId xmlns:a16="http://schemas.microsoft.com/office/drawing/2014/main" id="{36B6FE63-49D1-0C4B-9161-B6C7E011EEA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74122" y="4661026"/>
              <a:ext cx="313756" cy="313756"/>
            </a:xfrm>
            <a:prstGeom prst="rect">
              <a:avLst/>
            </a:prstGeom>
          </p:spPr>
        </p:pic>
      </p:grpSp>
      <p:sp>
        <p:nvSpPr>
          <p:cNvPr id="10" name="Title Placeholder 5">
            <a:extLst>
              <a:ext uri="{FF2B5EF4-FFF2-40B4-BE49-F238E27FC236}">
                <a16:creationId xmlns:a16="http://schemas.microsoft.com/office/drawing/2014/main" id="{5FE06DDA-4342-704C-B3AA-D4BC7D7CEB70}"/>
              </a:ext>
            </a:extLst>
          </p:cNvPr>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CiscoSansTT Medium" panose="020B0503020201020303" pitchFamily="34" charset="-128"/>
                <a:ea typeface="CiscoSansTT Medium" panose="020B0503020201020303" pitchFamily="34" charset="-128"/>
                <a:cs typeface="CiscoSansTT Medium" panose="020B0503020201020303" pitchFamily="34" charset="-128"/>
              </a:defRPr>
            </a:lvl1pPr>
          </a:lstStyle>
          <a:p>
            <a:pPr lvl="0"/>
            <a:r>
              <a:rPr lang="en-GB"/>
              <a:t>Click to edit Master title style</a:t>
            </a:r>
          </a:p>
        </p:txBody>
      </p:sp>
    </p:spTree>
    <p:extLst>
      <p:ext uri="{BB962C8B-B14F-4D97-AF65-F5344CB8AC3E}">
        <p14:creationId xmlns:p14="http://schemas.microsoft.com/office/powerpoint/2010/main" val="83227531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14_Bullet_Title only">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85F51DA7-58A7-2249-8277-FCE6949B49A2}"/>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Cisco Confidential</a:t>
            </a:r>
          </a:p>
        </p:txBody>
      </p:sp>
    </p:spTree>
    <p:extLst>
      <p:ext uri="{BB962C8B-B14F-4D97-AF65-F5344CB8AC3E}">
        <p14:creationId xmlns:p14="http://schemas.microsoft.com/office/powerpoint/2010/main" val="176300347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132592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5" y="341313"/>
            <a:ext cx="4204117" cy="3931920"/>
          </a:xfrm>
          <a:prstGeom prst="rect">
            <a:avLst/>
          </a:prstGeom>
        </p:spPr>
        <p:txBody>
          <a:bodyPr anchor="ctr">
            <a:noAutofit/>
          </a:bodyPr>
          <a:lstStyle>
            <a:lvl1pPr marL="274313" indent="-274313">
              <a:spcBef>
                <a:spcPts val="2400"/>
              </a:spcBef>
              <a:buClr>
                <a:schemeClr val="accent2"/>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wrap="square" rtlCol="0" anchor="ctr">
            <a:noAutofit/>
          </a:bodyPr>
          <a:lstStyle/>
          <a:p>
            <a:endParaRPr lang="en-US" sz="1800"/>
          </a:p>
        </p:txBody>
      </p:sp>
    </p:spTree>
    <p:extLst>
      <p:ext uri="{BB962C8B-B14F-4D97-AF65-F5344CB8AC3E}">
        <p14:creationId xmlns:p14="http://schemas.microsoft.com/office/powerpoint/2010/main" val="58165718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3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7991489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2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1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8" name="TextBox 17">
            <a:extLst>
              <a:ext uri="{FF2B5EF4-FFF2-40B4-BE49-F238E27FC236}">
                <a16:creationId xmlns:a16="http://schemas.microsoft.com/office/drawing/2014/main" id="{B810A9CF-C747-2B40-A1E3-3B19743F3386}"/>
              </a:ext>
            </a:extLst>
          </p:cNvPr>
          <p:cNvSpPr txBox="1"/>
          <p:nvPr userDrawn="1"/>
        </p:nvSpPr>
        <p:spPr>
          <a:xfrm>
            <a:off x="4314557" y="4909949"/>
            <a:ext cx="514885" cy="215444"/>
          </a:xfrm>
          <a:prstGeom prst="rect">
            <a:avLst/>
          </a:prstGeom>
          <a:noFill/>
        </p:spPr>
        <p:txBody>
          <a:bodyPr wrap="none" rtlCol="0" anchor="b">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CLUS</a:t>
            </a:r>
          </a:p>
        </p:txBody>
      </p:sp>
      <p:sp>
        <p:nvSpPr>
          <p:cNvPr id="2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33" name="Freeform 1">
            <a:extLst>
              <a:ext uri="{FF2B5EF4-FFF2-40B4-BE49-F238E27FC236}">
                <a16:creationId xmlns:a16="http://schemas.microsoft.com/office/drawing/2014/main" id="{D1CF8571-1D0E-4150-86CE-170EBEE47846}"/>
              </a:ext>
            </a:extLst>
          </p:cNvPr>
          <p:cNvSpPr>
            <a:spLocks noChangeAspect="1" noChangeArrowheads="1"/>
          </p:cNvSpPr>
          <p:nvPr userDrawn="1"/>
        </p:nvSpPr>
        <p:spPr bwMode="auto">
          <a:xfrm>
            <a:off x="536418" y="4785454"/>
            <a:ext cx="822960" cy="276700"/>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a:latin typeface="CiscoSansTT Light" panose="020B0503020201020303" pitchFamily="34" charset="0"/>
            </a:endParaRPr>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Session ID</a:t>
            </a:r>
          </a:p>
        </p:txBody>
      </p:sp>
    </p:spTree>
    <p:extLst>
      <p:ext uri="{BB962C8B-B14F-4D97-AF65-F5344CB8AC3E}">
        <p14:creationId xmlns:p14="http://schemas.microsoft.com/office/powerpoint/2010/main" val="17620382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286595405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1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39190977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10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486713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11713158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9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72508758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8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1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8" name="TextBox 17">
            <a:extLst>
              <a:ext uri="{FF2B5EF4-FFF2-40B4-BE49-F238E27FC236}">
                <a16:creationId xmlns:a16="http://schemas.microsoft.com/office/drawing/2014/main" id="{B810A9CF-C747-2B40-A1E3-3B19743F3386}"/>
              </a:ext>
            </a:extLst>
          </p:cNvPr>
          <p:cNvSpPr txBox="1"/>
          <p:nvPr userDrawn="1"/>
        </p:nvSpPr>
        <p:spPr>
          <a:xfrm>
            <a:off x="4314557" y="4909949"/>
            <a:ext cx="514885" cy="215444"/>
          </a:xfrm>
          <a:prstGeom prst="rect">
            <a:avLst/>
          </a:prstGeom>
          <a:noFill/>
        </p:spPr>
        <p:txBody>
          <a:bodyPr wrap="none" rtlCol="0" anchor="b">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CLUS</a:t>
            </a:r>
          </a:p>
        </p:txBody>
      </p:sp>
      <p:sp>
        <p:nvSpPr>
          <p:cNvPr id="2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33" name="Freeform 1">
            <a:extLst>
              <a:ext uri="{FF2B5EF4-FFF2-40B4-BE49-F238E27FC236}">
                <a16:creationId xmlns:a16="http://schemas.microsoft.com/office/drawing/2014/main" id="{D1CF8571-1D0E-4150-86CE-170EBEE47846}"/>
              </a:ext>
            </a:extLst>
          </p:cNvPr>
          <p:cNvSpPr>
            <a:spLocks noChangeAspect="1" noChangeArrowheads="1"/>
          </p:cNvSpPr>
          <p:nvPr userDrawn="1"/>
        </p:nvSpPr>
        <p:spPr bwMode="auto">
          <a:xfrm>
            <a:off x="536418" y="4785454"/>
            <a:ext cx="822960" cy="276700"/>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a:latin typeface="CiscoSansTT Light" panose="020B0503020201020303" pitchFamily="34" charset="0"/>
            </a:endParaRPr>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Session ID</a:t>
            </a:r>
          </a:p>
        </p:txBody>
      </p:sp>
    </p:spTree>
    <p:extLst>
      <p:ext uri="{BB962C8B-B14F-4D97-AF65-F5344CB8AC3E}">
        <p14:creationId xmlns:p14="http://schemas.microsoft.com/office/powerpoint/2010/main" val="12457894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5460926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7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525151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gue – G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34894101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6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4423299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Section Titl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5563653"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21738" y="1540551"/>
            <a:ext cx="5744043" cy="2278837"/>
          </a:xfrm>
          <a:prstGeom prst="rect">
            <a:avLst/>
          </a:prstGeom>
        </p:spPr>
        <p:txBody>
          <a:bodyPr>
            <a:noAutofit/>
          </a:bodyPr>
          <a:lstStyle>
            <a:lvl1pPr marL="720" indent="0" algn="l">
              <a:lnSpc>
                <a:spcPct val="90000"/>
              </a:lnSpc>
              <a:defRPr sz="4000" b="0" i="0" spc="0" baseline="0">
                <a:solidFill>
                  <a:schemeClr val="bg1"/>
                </a:solidFill>
                <a:latin typeface="CiscoSansTT Medium" panose="020B0503020201020303" pitchFamily="34" charset="0"/>
                <a:cs typeface="CiscoSans Thin"/>
              </a:defRPr>
            </a:lvl1pPr>
          </a:lstStyle>
          <a:p>
            <a:r>
              <a:rPr lang="en-US"/>
              <a:t>Click to edit Master title style</a:t>
            </a:r>
          </a:p>
        </p:txBody>
      </p:sp>
    </p:spTree>
    <p:extLst>
      <p:ext uri="{BB962C8B-B14F-4D97-AF65-F5344CB8AC3E}">
        <p14:creationId xmlns:p14="http://schemas.microsoft.com/office/powerpoint/2010/main" val="1837519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375" b="1" i="0">
                <a:solidFill>
                  <a:srgbClr val="66B245"/>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56958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363365629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5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mj-lt"/>
              </a:defRPr>
            </a:lvl1pPr>
          </a:lstStyle>
          <a:p>
            <a:pPr lvl="0"/>
            <a:r>
              <a:rPr lang="en-GB"/>
              <a:t>Click to edit Master title style</a:t>
            </a:r>
          </a:p>
        </p:txBody>
      </p:sp>
    </p:spTree>
    <p:extLst>
      <p:ext uri="{BB962C8B-B14F-4D97-AF65-F5344CB8AC3E}">
        <p14:creationId xmlns:p14="http://schemas.microsoft.com/office/powerpoint/2010/main" val="41661960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116037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mj-lt"/>
              </a:defRPr>
            </a:lvl1pPr>
          </a:lstStyle>
          <a:p>
            <a:pPr lvl="0"/>
            <a:r>
              <a:rPr lang="en-GB"/>
              <a:t>Click to edit Master title style</a:t>
            </a:r>
          </a:p>
        </p:txBody>
      </p:sp>
    </p:spTree>
    <p:extLst>
      <p:ext uri="{BB962C8B-B14F-4D97-AF65-F5344CB8AC3E}">
        <p14:creationId xmlns:p14="http://schemas.microsoft.com/office/powerpoint/2010/main" val="258506161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Bullet with Graphic">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noFill/>
              <a:prstDash val="solid"/>
              <a:miter/>
            </a:ln>
          </p:spPr>
          <p:txBody>
            <a:bodyPr rtlCol="0" anchor="ctr"/>
            <a:lstStyle/>
            <a:p>
              <a:endParaRPr lang="en-US"/>
            </a:p>
          </p:txBody>
        </p:sp>
      </p:grpSp>
      <p:sp>
        <p:nvSpPr>
          <p:cNvPr id="10" name="Title Placeholder 5">
            <a:extLst>
              <a:ext uri="{FF2B5EF4-FFF2-40B4-BE49-F238E27FC236}">
                <a16:creationId xmlns:a16="http://schemas.microsoft.com/office/drawing/2014/main" id="{D6243209-3D98-1F4D-A52F-21C6722EE49B}"/>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9479966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54544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mj-lt"/>
              </a:defRPr>
            </a:lvl1pPr>
          </a:lstStyle>
          <a:p>
            <a:pPr lvl="0"/>
            <a:r>
              <a:rPr lang="en-GB"/>
              <a:t>Click to edit Master title style</a:t>
            </a:r>
          </a:p>
        </p:txBody>
      </p:sp>
    </p:spTree>
    <p:extLst>
      <p:ext uri="{BB962C8B-B14F-4D97-AF65-F5344CB8AC3E}">
        <p14:creationId xmlns:p14="http://schemas.microsoft.com/office/powerpoint/2010/main" val="2735287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C9D77CE-E9CA-F24E-9AAF-008745ABAE88}"/>
              </a:ext>
            </a:extLst>
          </p:cNvPr>
          <p:cNvSpPr>
            <a:spLocks noGrp="1"/>
          </p:cNvSpPr>
          <p:nvPr>
            <p:ph type="body" sz="quarter" idx="11" hasCustomPrompt="1"/>
          </p:nvPr>
        </p:nvSpPr>
        <p:spPr>
          <a:xfrm>
            <a:off x="437766" y="747695"/>
            <a:ext cx="8345488" cy="376237"/>
          </a:xfrm>
          <a:prstGeom prst="rect">
            <a:avLst/>
          </a:prstGeom>
        </p:spPr>
        <p:txBody>
          <a:bodyPr/>
          <a:lstStyle>
            <a:lvl1pPr marL="0" indent="0">
              <a:buNone/>
              <a:defRPr sz="1600">
                <a:solidFill>
                  <a:schemeClr val="accent1"/>
                </a:solidFill>
              </a:defRPr>
            </a:lvl1pPr>
            <a:lvl2pPr marL="142875" indent="0">
              <a:buNone/>
              <a:defRPr/>
            </a:lvl2pPr>
            <a:lvl3pPr marL="261937" indent="0">
              <a:buNone/>
              <a:defRPr/>
            </a:lvl3pPr>
            <a:lvl4pPr marL="333375" indent="0">
              <a:buNone/>
              <a:defRPr/>
            </a:lvl4pPr>
            <a:lvl5pPr marL="404812" indent="0">
              <a:buNone/>
              <a:defRPr/>
            </a:lvl5pPr>
          </a:lstStyle>
          <a:p>
            <a:pPr lvl="0"/>
            <a:r>
              <a:rPr lang="en-US"/>
              <a:t>Key Takeaway</a:t>
            </a:r>
          </a:p>
        </p:txBody>
      </p:sp>
      <p:sp>
        <p:nvSpPr>
          <p:cNvPr id="2" name="Title 1">
            <a:extLst>
              <a:ext uri="{FF2B5EF4-FFF2-40B4-BE49-F238E27FC236}">
                <a16:creationId xmlns:a16="http://schemas.microsoft.com/office/drawing/2014/main" id="{AA9D081D-1EA1-444C-A5EC-153389FDFF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36626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Bullet with Graphic">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noFill/>
              <a:prstDash val="solid"/>
              <a:miter/>
            </a:ln>
          </p:spPr>
          <p:txBody>
            <a:bodyPr rtlCol="0" anchor="ctr"/>
            <a:lstStyle/>
            <a:p>
              <a:endParaRPr lang="en-US"/>
            </a:p>
          </p:txBody>
        </p:sp>
      </p:grpSp>
      <p:sp>
        <p:nvSpPr>
          <p:cNvPr id="10" name="Title Placeholder 5">
            <a:extLst>
              <a:ext uri="{FF2B5EF4-FFF2-40B4-BE49-F238E27FC236}">
                <a16:creationId xmlns:a16="http://schemas.microsoft.com/office/drawing/2014/main" id="{D6243209-3D98-1F4D-A52F-21C6722EE49B}"/>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137942139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2571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2800">
                <a:solidFill>
                  <a:schemeClr val="tx2"/>
                </a:solidFill>
                <a:latin typeface="+mj-lt"/>
              </a:defRPr>
            </a:lvl1pPr>
          </a:lstStyle>
          <a:p>
            <a:pPr lvl="0"/>
            <a:r>
              <a:rPr lang="en-GB"/>
              <a:t>Click to edit Master title style</a:t>
            </a:r>
          </a:p>
        </p:txBody>
      </p:sp>
    </p:spTree>
    <p:extLst>
      <p:ext uri="{BB962C8B-B14F-4D97-AF65-F5344CB8AC3E}">
        <p14:creationId xmlns:p14="http://schemas.microsoft.com/office/powerpoint/2010/main" val="33470684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nd Subtitle 4 Heavy Graphics">
    <p:spTree>
      <p:nvGrpSpPr>
        <p:cNvPr id="1" name=""/>
        <p:cNvGrpSpPr/>
        <p:nvPr/>
      </p:nvGrpSpPr>
      <p:grpSpPr>
        <a:xfrm>
          <a:off x="0" y="0"/>
          <a:ext cx="0" cy="0"/>
          <a:chOff x="0" y="0"/>
          <a:chExt cx="0" cy="0"/>
        </a:xfrm>
      </p:grpSpPr>
      <p:sp>
        <p:nvSpPr>
          <p:cNvPr id="12" name="Title 1"/>
          <p:cNvSpPr>
            <a:spLocks noGrp="1"/>
          </p:cNvSpPr>
          <p:nvPr>
            <p:ph type="title"/>
          </p:nvPr>
        </p:nvSpPr>
        <p:spPr>
          <a:xfrm>
            <a:off x="443996" y="195681"/>
            <a:ext cx="8266113" cy="434974"/>
          </a:xfrm>
        </p:spPr>
        <p:txBody>
          <a:bodyPr/>
          <a:lstStyle>
            <a:lvl1pPr>
              <a:defRPr lang="en-US" sz="2800" b="0" i="0" u="none" kern="1200" dirty="0">
                <a:solidFill>
                  <a:schemeClr val="tx2"/>
                </a:solidFill>
                <a:latin typeface="+mj-lt"/>
                <a:ea typeface="CiscoSansTT Light" panose="020B0503020201020303" pitchFamily="34" charset="0"/>
                <a:cs typeface="CiscoSansTT Light" panose="020B0503020201020303" pitchFamily="34" charset="0"/>
              </a:defRPr>
            </a:lvl1pPr>
          </a:lstStyle>
          <a:p>
            <a:r>
              <a:rPr lang="en-US"/>
              <a:t>Click to edit Master title style</a:t>
            </a:r>
          </a:p>
        </p:txBody>
      </p:sp>
      <p:sp>
        <p:nvSpPr>
          <p:cNvPr id="13" name="Text Placeholder 5"/>
          <p:cNvSpPr>
            <a:spLocks noGrp="1"/>
          </p:cNvSpPr>
          <p:nvPr>
            <p:ph type="body" sz="quarter" idx="12"/>
          </p:nvPr>
        </p:nvSpPr>
        <p:spPr>
          <a:xfrm>
            <a:off x="443996" y="588639"/>
            <a:ext cx="8266113" cy="381000"/>
          </a:xfrm>
          <a:prstGeom prst="rect">
            <a:avLst/>
          </a:prstGeom>
        </p:spPr>
        <p:txBody>
          <a:bodyPr/>
          <a:lstStyle>
            <a:lvl1pPr marL="1785" indent="0">
              <a:spcBef>
                <a:spcPts val="0"/>
              </a:spcBef>
              <a:buNone/>
              <a:defRPr sz="18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97867562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and Free Slide">
  <p:cSld name="Title and Free Slide">
    <p:spTree>
      <p:nvGrpSpPr>
        <p:cNvPr id="1" name="Shape 34"/>
        <p:cNvGrpSpPr/>
        <p:nvPr/>
      </p:nvGrpSpPr>
      <p:grpSpPr>
        <a:xfrm>
          <a:off x="0" y="0"/>
          <a:ext cx="0" cy="0"/>
          <a:chOff x="0" y="0"/>
          <a:chExt cx="0" cy="0"/>
        </a:xfrm>
      </p:grpSpPr>
      <p:sp>
        <p:nvSpPr>
          <p:cNvPr id="35" name="Google Shape;35;p4"/>
          <p:cNvSpPr txBox="1">
            <a:spLocks noGrp="1"/>
          </p:cNvSpPr>
          <p:nvPr>
            <p:ph type="body" idx="1"/>
          </p:nvPr>
        </p:nvSpPr>
        <p:spPr>
          <a:xfrm>
            <a:off x="238125" y="139469"/>
            <a:ext cx="8650224" cy="571500"/>
          </a:xfrm>
          <a:prstGeom prst="rect">
            <a:avLst/>
          </a:prstGeom>
          <a:noFill/>
          <a:ln>
            <a:noFill/>
          </a:ln>
        </p:spPr>
        <p:txBody>
          <a:bodyPr spcFirstLastPara="1" wrap="square" lIns="68575" tIns="34275" rIns="68575" bIns="34275" anchor="t" anchorCtr="0">
            <a:noAutofit/>
          </a:bodyPr>
          <a:lstStyle>
            <a:lvl1pPr marL="457200" lvl="0" indent="-228600" algn="ctr">
              <a:lnSpc>
                <a:spcPct val="100000"/>
              </a:lnSpc>
              <a:spcBef>
                <a:spcPts val="1200"/>
              </a:spcBef>
              <a:spcAft>
                <a:spcPts val="0"/>
              </a:spcAft>
              <a:buSzPts val="2700"/>
              <a:buNone/>
              <a:defRPr sz="2700" b="1">
                <a:solidFill>
                  <a:schemeClr val="accent3"/>
                </a:solidFill>
                <a:latin typeface="Helvetica Neue"/>
                <a:ea typeface="Helvetica Neue"/>
                <a:cs typeface="Helvetica Neue"/>
                <a:sym typeface="Helvetica Neue"/>
              </a:defRPr>
            </a:lvl1pPr>
            <a:lvl2pPr marL="914400" lvl="1" indent="-342900" algn="l">
              <a:lnSpc>
                <a:spcPct val="100000"/>
              </a:lnSpc>
              <a:spcBef>
                <a:spcPts val="480"/>
              </a:spcBef>
              <a:spcAft>
                <a:spcPts val="0"/>
              </a:spcAft>
              <a:buSzPts val="1800"/>
              <a:buChar char="–"/>
              <a:defRPr/>
            </a:lvl2pPr>
            <a:lvl3pPr marL="1371600" lvl="2" indent="-342900" algn="l">
              <a:lnSpc>
                <a:spcPct val="100000"/>
              </a:lnSpc>
              <a:spcBef>
                <a:spcPts val="432"/>
              </a:spcBef>
              <a:spcAft>
                <a:spcPts val="0"/>
              </a:spcAft>
              <a:buSzPts val="1800"/>
              <a:buChar char="•"/>
              <a:defRPr/>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566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and Text slide">
  <p:cSld name="Title and Text slide">
    <p:spTree>
      <p:nvGrpSpPr>
        <p:cNvPr id="1" name="Shape 73"/>
        <p:cNvGrpSpPr/>
        <p:nvPr/>
      </p:nvGrpSpPr>
      <p:grpSpPr>
        <a:xfrm>
          <a:off x="0" y="0"/>
          <a:ext cx="0" cy="0"/>
          <a:chOff x="0" y="0"/>
          <a:chExt cx="0" cy="0"/>
        </a:xfrm>
      </p:grpSpPr>
      <p:sp>
        <p:nvSpPr>
          <p:cNvPr id="74" name="Google Shape;74;p10"/>
          <p:cNvSpPr txBox="1">
            <a:spLocks noGrp="1"/>
          </p:cNvSpPr>
          <p:nvPr>
            <p:ph type="body" idx="1"/>
          </p:nvPr>
        </p:nvSpPr>
        <p:spPr>
          <a:xfrm>
            <a:off x="238125" y="138113"/>
            <a:ext cx="8650224" cy="571500"/>
          </a:xfrm>
          <a:prstGeom prst="rect">
            <a:avLst/>
          </a:prstGeom>
          <a:noFill/>
          <a:ln>
            <a:noFill/>
          </a:ln>
        </p:spPr>
        <p:txBody>
          <a:bodyPr spcFirstLastPara="1" wrap="square" lIns="68575" tIns="34275" rIns="68575" bIns="34275" anchor="t" anchorCtr="0">
            <a:noAutofit/>
          </a:bodyPr>
          <a:lstStyle>
            <a:lvl1pPr marL="457200" lvl="0" indent="-228600" algn="ctr">
              <a:lnSpc>
                <a:spcPct val="100000"/>
              </a:lnSpc>
              <a:spcBef>
                <a:spcPts val="576"/>
              </a:spcBef>
              <a:spcAft>
                <a:spcPts val="0"/>
              </a:spcAft>
              <a:buClr>
                <a:srgbClr val="004BA7"/>
              </a:buClr>
              <a:buSzPts val="2700"/>
              <a:buFont typeface="Arial"/>
              <a:buNone/>
              <a:defRPr sz="2700" b="1">
                <a:solidFill>
                  <a:schemeClr val="accent3"/>
                </a:solidFill>
                <a:latin typeface="Helvetica Neue"/>
                <a:ea typeface="Helvetica Neue"/>
                <a:cs typeface="Helvetica Neue"/>
                <a:sym typeface="Helvetica Neue"/>
              </a:defRPr>
            </a:lvl1pPr>
            <a:lvl2pPr marL="914400" lvl="1" indent="-342900" algn="l">
              <a:lnSpc>
                <a:spcPct val="100000"/>
              </a:lnSpc>
              <a:spcBef>
                <a:spcPts val="480"/>
              </a:spcBef>
              <a:spcAft>
                <a:spcPts val="0"/>
              </a:spcAft>
              <a:buSzPts val="1800"/>
              <a:buChar char="–"/>
              <a:defRPr/>
            </a:lvl2pPr>
            <a:lvl3pPr marL="1371600" lvl="2" indent="-342900" algn="l">
              <a:lnSpc>
                <a:spcPct val="100000"/>
              </a:lnSpc>
              <a:spcBef>
                <a:spcPts val="432"/>
              </a:spcBef>
              <a:spcAft>
                <a:spcPts val="0"/>
              </a:spcAft>
              <a:buSzPts val="1800"/>
              <a:buChar char="•"/>
              <a:defRPr/>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75" name="Google Shape;75;p10"/>
          <p:cNvSpPr txBox="1">
            <a:spLocks noGrp="1"/>
          </p:cNvSpPr>
          <p:nvPr>
            <p:ph type="body" idx="2"/>
          </p:nvPr>
        </p:nvSpPr>
        <p:spPr>
          <a:xfrm>
            <a:off x="457200" y="764716"/>
            <a:ext cx="8229600" cy="3657600"/>
          </a:xfrm>
          <a:prstGeom prst="rect">
            <a:avLst/>
          </a:prstGeom>
          <a:noFill/>
          <a:ln>
            <a:noFill/>
          </a:ln>
        </p:spPr>
        <p:txBody>
          <a:bodyPr spcFirstLastPara="1" wrap="square" lIns="73150" tIns="45700" rIns="73150" bIns="45700" anchor="t" anchorCtr="0">
            <a:noAutofit/>
          </a:bodyPr>
          <a:lstStyle>
            <a:lvl1pPr marL="457200" lvl="0" indent="-342900" algn="l">
              <a:lnSpc>
                <a:spcPct val="100000"/>
              </a:lnSpc>
              <a:spcBef>
                <a:spcPts val="1200"/>
              </a:spcBef>
              <a:spcAft>
                <a:spcPts val="0"/>
              </a:spcAft>
              <a:buSzPts val="1800"/>
              <a:buChar char="•"/>
              <a:defRPr/>
            </a:lvl1pPr>
            <a:lvl2pPr marL="914400" lvl="1" indent="-342900" algn="l">
              <a:lnSpc>
                <a:spcPct val="100000"/>
              </a:lnSpc>
              <a:spcBef>
                <a:spcPts val="480"/>
              </a:spcBef>
              <a:spcAft>
                <a:spcPts val="0"/>
              </a:spcAft>
              <a:buSzPts val="1800"/>
              <a:buChar char="–"/>
              <a:defRPr/>
            </a:lvl2pPr>
            <a:lvl3pPr marL="1371600" lvl="2" indent="-342900" algn="l">
              <a:lnSpc>
                <a:spcPct val="100000"/>
              </a:lnSpc>
              <a:spcBef>
                <a:spcPts val="432"/>
              </a:spcBef>
              <a:spcAft>
                <a:spcPts val="0"/>
              </a:spcAft>
              <a:buSzPts val="1800"/>
              <a:buChar char="•"/>
              <a:defRPr/>
            </a:lvl3pPr>
            <a:lvl4pPr marL="1828800" lvl="3" indent="-342900" algn="l">
              <a:lnSpc>
                <a:spcPct val="90000"/>
              </a:lnSpc>
              <a:spcBef>
                <a:spcPts val="375"/>
              </a:spcBef>
              <a:spcAft>
                <a:spcPts val="0"/>
              </a:spcAft>
              <a:buClr>
                <a:schemeClr val="dk1"/>
              </a:buClr>
              <a:buSzPts val="1800"/>
              <a:buChar char="•"/>
              <a:defRPr/>
            </a:lvl4pPr>
            <a:lvl5pPr marL="2286000" lvl="4" indent="-342900" algn="l">
              <a:lnSpc>
                <a:spcPct val="90000"/>
              </a:lnSpc>
              <a:spcBef>
                <a:spcPts val="375"/>
              </a:spcBef>
              <a:spcAft>
                <a:spcPts val="0"/>
              </a:spcAft>
              <a:buClr>
                <a:schemeClr val="dk1"/>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5167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and Free Slide">
    <p:spTree>
      <p:nvGrpSpPr>
        <p:cNvPr id="1" name=""/>
        <p:cNvGrpSpPr/>
        <p:nvPr/>
      </p:nvGrpSpPr>
      <p:grpSpPr>
        <a:xfrm>
          <a:off x="0" y="0"/>
          <a:ext cx="0" cy="0"/>
          <a:chOff x="0" y="0"/>
          <a:chExt cx="0" cy="0"/>
        </a:xfrm>
      </p:grpSpPr>
      <p:sp>
        <p:nvSpPr>
          <p:cNvPr id="78" name="Text Placeholder 2"/>
          <p:cNvSpPr>
            <a:spLocks noGrp="1"/>
          </p:cNvSpPr>
          <p:nvPr>
            <p:ph type="body" sz="quarter" idx="10" hasCustomPrompt="1"/>
          </p:nvPr>
        </p:nvSpPr>
        <p:spPr>
          <a:xfrm>
            <a:off x="238125" y="139469"/>
            <a:ext cx="8650224" cy="571500"/>
          </a:xfrm>
          <a:prstGeom prst="rect">
            <a:avLst/>
          </a:prstGeom>
        </p:spPr>
        <p:txBody>
          <a:bodyPr lIns="68580" tIns="34290" rIns="68580" bIns="34290">
            <a:normAutofit/>
          </a:bodyPr>
          <a:lstStyle>
            <a:lvl1pPr marL="0" indent="0" algn="ctr">
              <a:buNone/>
              <a:defRPr sz="2700" b="1" spc="0" baseline="0">
                <a:solidFill>
                  <a:schemeClr val="accent3"/>
                </a:solidFill>
                <a:latin typeface="+mn-lt"/>
              </a:defRPr>
            </a:lvl1pPr>
          </a:lstStyle>
          <a:p>
            <a:pPr lvl="0"/>
            <a:r>
              <a:rPr lang="en-US"/>
              <a:t>Edit Master Text Styles (Title Case)</a:t>
            </a:r>
          </a:p>
        </p:txBody>
      </p:sp>
    </p:spTree>
    <p:extLst>
      <p:ext uri="{BB962C8B-B14F-4D97-AF65-F5344CB8AC3E}">
        <p14:creationId xmlns:p14="http://schemas.microsoft.com/office/powerpoint/2010/main" val="250098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Bullet with Graphic">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noFill/>
              <a:prstDash val="solid"/>
              <a:miter/>
            </a:ln>
          </p:spPr>
          <p:txBody>
            <a:bodyPr rtlCol="0" anchor="ctr"/>
            <a:lstStyle/>
            <a:p>
              <a:endParaRPr lang="en-US"/>
            </a:p>
          </p:txBody>
        </p:sp>
      </p:grpSp>
      <p:sp>
        <p:nvSpPr>
          <p:cNvPr id="10" name="Title Placeholder 5">
            <a:extLst>
              <a:ext uri="{FF2B5EF4-FFF2-40B4-BE49-F238E27FC236}">
                <a16:creationId xmlns:a16="http://schemas.microsoft.com/office/drawing/2014/main" id="{D6243209-3D98-1F4D-A52F-21C6722EE49B}"/>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26716319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66826" y="225960"/>
            <a:ext cx="8810379" cy="3490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p>
        </p:txBody>
      </p:sp>
    </p:spTree>
    <p:extLst>
      <p:ext uri="{BB962C8B-B14F-4D97-AF65-F5344CB8AC3E}">
        <p14:creationId xmlns:p14="http://schemas.microsoft.com/office/powerpoint/2010/main" val="252842378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754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108199353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3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173736"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99121865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088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81F24E6-F881-664E-9B14-9C261A684B64}"/>
              </a:ext>
            </a:extLst>
          </p:cNvPr>
          <p:cNvSpPr/>
          <p:nvPr userDrawn="1"/>
        </p:nvSpPr>
        <p:spPr>
          <a:xfrm>
            <a:off x="-133815" y="-5835"/>
            <a:ext cx="9426498" cy="5261776"/>
          </a:xfrm>
          <a:prstGeom prst="rect">
            <a:avLst/>
          </a:prstGeom>
          <a:solidFill>
            <a:srgbClr val="01193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112379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6254397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171477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91458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0843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98553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7269380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419903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42836454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0215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087957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820FEA-246F-FE4A-9C00-FE19D5E1ABBD}"/>
              </a:ext>
            </a:extLst>
          </p:cNvPr>
          <p:cNvSpPr/>
          <p:nvPr userDrawn="1"/>
        </p:nvSpPr>
        <p:spPr>
          <a:xfrm>
            <a:off x="-96644" y="-503923"/>
            <a:ext cx="9322420" cy="5774733"/>
          </a:xfrm>
          <a:prstGeom prst="rect">
            <a:avLst/>
          </a:prstGeom>
          <a:solidFill>
            <a:srgbClr val="01193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685812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
        <p:nvSpPr>
          <p:cNvPr id="2" name="Rectangle 1">
            <a:extLst>
              <a:ext uri="{FF2B5EF4-FFF2-40B4-BE49-F238E27FC236}">
                <a16:creationId xmlns:a16="http://schemas.microsoft.com/office/drawing/2014/main" id="{669AFFF6-A65D-4B2E-BCE5-D83D32F2A80F}"/>
              </a:ext>
            </a:extLst>
          </p:cNvPr>
          <p:cNvSpPr/>
          <p:nvPr userDrawn="1"/>
        </p:nvSpPr>
        <p:spPr>
          <a:xfrm>
            <a:off x="2561617" y="4740613"/>
            <a:ext cx="745787" cy="155642"/>
          </a:xfrm>
          <a:prstGeom prst="rect">
            <a:avLst/>
          </a:prstGeom>
          <a:solidFill>
            <a:srgbClr val="0D27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97553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9057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01195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381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09744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77318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735349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104284918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57180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649221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6"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21975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5"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90071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6"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889908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7"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418413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6"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59568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360978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nchor="t"/>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9" name="Picture 8" descr="A picture containing drawing&#10;&#10;Description automatically generated">
            <a:extLst>
              <a:ext uri="{FF2B5EF4-FFF2-40B4-BE49-F238E27FC236}">
                <a16:creationId xmlns:a16="http://schemas.microsoft.com/office/drawing/2014/main" id="{DFF5A03F-62C1-0740-BE1A-3C1C0CAFBFA9}"/>
              </a:ext>
            </a:extLst>
          </p:cNvPr>
          <p:cNvPicPr>
            <a:picLocks noChangeAspect="1"/>
          </p:cNvPicPr>
          <p:nvPr userDrawn="1"/>
        </p:nvPicPr>
        <p:blipFill>
          <a:blip r:embed="rId2"/>
          <a:stretch>
            <a:fillRect/>
          </a:stretch>
        </p:blipFill>
        <p:spPr>
          <a:xfrm>
            <a:off x="7046208" y="487542"/>
            <a:ext cx="1593916" cy="246013"/>
          </a:xfrm>
          <a:prstGeom prst="rect">
            <a:avLst/>
          </a:prstGeom>
        </p:spPr>
      </p:pic>
      <p:pic>
        <p:nvPicPr>
          <p:cNvPr id="11" name="Picture 10" descr="A picture containing plate&#10;&#10;Description automatically generated">
            <a:extLst>
              <a:ext uri="{FF2B5EF4-FFF2-40B4-BE49-F238E27FC236}">
                <a16:creationId xmlns:a16="http://schemas.microsoft.com/office/drawing/2014/main" id="{8BDC6B8F-A3E8-9441-BD5B-959DFCD424DF}"/>
              </a:ext>
            </a:extLst>
          </p:cNvPr>
          <p:cNvPicPr>
            <a:picLocks noChangeAspect="1"/>
          </p:cNvPicPr>
          <p:nvPr userDrawn="1"/>
        </p:nvPicPr>
        <p:blipFill>
          <a:blip r:embed="rId3"/>
          <a:stretch>
            <a:fillRect/>
          </a:stretch>
        </p:blipFill>
        <p:spPr>
          <a:xfrm>
            <a:off x="364164" y="221305"/>
            <a:ext cx="1493772" cy="769644"/>
          </a:xfrm>
          <a:prstGeom prst="rect">
            <a:avLst/>
          </a:prstGeom>
        </p:spPr>
      </p:pic>
    </p:spTree>
    <p:extLst>
      <p:ext uri="{BB962C8B-B14F-4D97-AF65-F5344CB8AC3E}">
        <p14:creationId xmlns:p14="http://schemas.microsoft.com/office/powerpoint/2010/main" val="232944853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14" name="Picture 13" descr="A picture containing drawing&#10;&#10;Description automatically generated">
            <a:extLst>
              <a:ext uri="{FF2B5EF4-FFF2-40B4-BE49-F238E27FC236}">
                <a16:creationId xmlns:a16="http://schemas.microsoft.com/office/drawing/2014/main" id="{E50E4963-CF0C-B441-AC49-182636025485}"/>
              </a:ext>
            </a:extLst>
          </p:cNvPr>
          <p:cNvPicPr>
            <a:picLocks noChangeAspect="1"/>
          </p:cNvPicPr>
          <p:nvPr userDrawn="1"/>
        </p:nvPicPr>
        <p:blipFill>
          <a:blip r:embed="rId2"/>
          <a:stretch>
            <a:fillRect/>
          </a:stretch>
        </p:blipFill>
        <p:spPr>
          <a:xfrm>
            <a:off x="7046208" y="487542"/>
            <a:ext cx="1593916" cy="246013"/>
          </a:xfrm>
          <a:prstGeom prst="rect">
            <a:avLst/>
          </a:prstGeom>
        </p:spPr>
      </p:pic>
      <p:sp>
        <p:nvSpPr>
          <p:cNvPr id="10" name="Freeform 9">
            <a:extLst>
              <a:ext uri="{FF2B5EF4-FFF2-40B4-BE49-F238E27FC236}">
                <a16:creationId xmlns:a16="http://schemas.microsoft.com/office/drawing/2014/main" id="{D390E896-2761-D44B-9AA3-5AD05EAD2C91}"/>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a:p>
        </p:txBody>
      </p:sp>
      <p:pic>
        <p:nvPicPr>
          <p:cNvPr id="12" name="Picture 11" descr="A picture containing plate&#10;&#10;Description automatically generated">
            <a:extLst>
              <a:ext uri="{FF2B5EF4-FFF2-40B4-BE49-F238E27FC236}">
                <a16:creationId xmlns:a16="http://schemas.microsoft.com/office/drawing/2014/main" id="{EE13BFA4-7EC4-4441-B3C9-A685CE0A8F6F}"/>
              </a:ext>
            </a:extLst>
          </p:cNvPr>
          <p:cNvPicPr>
            <a:picLocks noChangeAspect="1"/>
          </p:cNvPicPr>
          <p:nvPr userDrawn="1"/>
        </p:nvPicPr>
        <p:blipFill>
          <a:blip r:embed="rId3"/>
          <a:stretch>
            <a:fillRect/>
          </a:stretch>
        </p:blipFill>
        <p:spPr>
          <a:xfrm>
            <a:off x="364164" y="221305"/>
            <a:ext cx="1493772" cy="769644"/>
          </a:xfrm>
          <a:prstGeom prst="rect">
            <a:avLst/>
          </a:prstGeom>
        </p:spPr>
      </p:pic>
    </p:spTree>
    <p:extLst>
      <p:ext uri="{BB962C8B-B14F-4D97-AF65-F5344CB8AC3E}">
        <p14:creationId xmlns:p14="http://schemas.microsoft.com/office/powerpoint/2010/main" val="2785253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0848441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9" name="Picture 8" descr="A picture containing drawing&#10;&#10;Description automatically generated">
            <a:extLst>
              <a:ext uri="{FF2B5EF4-FFF2-40B4-BE49-F238E27FC236}">
                <a16:creationId xmlns:a16="http://schemas.microsoft.com/office/drawing/2014/main" id="{D1C30AEE-2CCC-1C4F-AAC7-4D22CB713D64}"/>
              </a:ext>
            </a:extLst>
          </p:cNvPr>
          <p:cNvPicPr>
            <a:picLocks noChangeAspect="1"/>
          </p:cNvPicPr>
          <p:nvPr userDrawn="1"/>
        </p:nvPicPr>
        <p:blipFill>
          <a:blip r:embed="rId2"/>
          <a:stretch>
            <a:fillRect/>
          </a:stretch>
        </p:blipFill>
        <p:spPr>
          <a:xfrm>
            <a:off x="7046208" y="487542"/>
            <a:ext cx="1593916" cy="246013"/>
          </a:xfrm>
          <a:prstGeom prst="rect">
            <a:avLst/>
          </a:prstGeom>
        </p:spPr>
      </p:pic>
      <p:pic>
        <p:nvPicPr>
          <p:cNvPr id="11" name="Picture 10" descr="A picture containing plate&#10;&#10;Description automatically generated">
            <a:extLst>
              <a:ext uri="{FF2B5EF4-FFF2-40B4-BE49-F238E27FC236}">
                <a16:creationId xmlns:a16="http://schemas.microsoft.com/office/drawing/2014/main" id="{2C5D12B2-5016-7B42-8D82-C277A6815C9B}"/>
              </a:ext>
            </a:extLst>
          </p:cNvPr>
          <p:cNvPicPr>
            <a:picLocks noChangeAspect="1"/>
          </p:cNvPicPr>
          <p:nvPr userDrawn="1"/>
        </p:nvPicPr>
        <p:blipFill>
          <a:blip r:embed="rId3"/>
          <a:stretch>
            <a:fillRect/>
          </a:stretch>
        </p:blipFill>
        <p:spPr>
          <a:xfrm>
            <a:off x="364164" y="221305"/>
            <a:ext cx="1493772" cy="769644"/>
          </a:xfrm>
          <a:prstGeom prst="rect">
            <a:avLst/>
          </a:prstGeom>
        </p:spPr>
      </p:pic>
    </p:spTree>
    <p:extLst>
      <p:ext uri="{BB962C8B-B14F-4D97-AF65-F5344CB8AC3E}">
        <p14:creationId xmlns:p14="http://schemas.microsoft.com/office/powerpoint/2010/main" val="345029593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9" name="Picture 8">
            <a:extLst>
              <a:ext uri="{FF2B5EF4-FFF2-40B4-BE49-F238E27FC236}">
                <a16:creationId xmlns:a16="http://schemas.microsoft.com/office/drawing/2014/main" id="{E5F16324-BEBB-574A-8093-3AC648E1A3A8}"/>
              </a:ext>
            </a:extLst>
          </p:cNvPr>
          <p:cNvPicPr>
            <a:picLocks noChangeAspect="1"/>
          </p:cNvPicPr>
          <p:nvPr userDrawn="1"/>
        </p:nvPicPr>
        <p:blipFill rotWithShape="1">
          <a:blip r:embed="rId2"/>
          <a:srcRect l="5104" t="18926" r="5724" b="17001"/>
          <a:stretch/>
        </p:blipFill>
        <p:spPr>
          <a:xfrm>
            <a:off x="7014162" y="455376"/>
            <a:ext cx="1645920" cy="319424"/>
          </a:xfrm>
          <a:prstGeom prst="rect">
            <a:avLst/>
          </a:prstGeom>
        </p:spPr>
      </p:pic>
      <p:pic>
        <p:nvPicPr>
          <p:cNvPr id="10" name="Picture 9">
            <a:extLst>
              <a:ext uri="{FF2B5EF4-FFF2-40B4-BE49-F238E27FC236}">
                <a16:creationId xmlns:a16="http://schemas.microsoft.com/office/drawing/2014/main" id="{04A008B3-1E46-154E-A86D-E8D7C549956A}"/>
              </a:ext>
            </a:extLst>
          </p:cNvPr>
          <p:cNvPicPr>
            <a:picLocks noChangeAspect="1"/>
          </p:cNvPicPr>
          <p:nvPr userDrawn="1"/>
        </p:nvPicPr>
        <p:blipFill>
          <a:blip r:embed="rId3"/>
          <a:srcRect/>
          <a:stretch/>
        </p:blipFill>
        <p:spPr>
          <a:xfrm>
            <a:off x="364164" y="221305"/>
            <a:ext cx="1493771" cy="769644"/>
          </a:xfrm>
          <a:prstGeom prst="rect">
            <a:avLst/>
          </a:prstGeom>
        </p:spPr>
      </p:pic>
    </p:spTree>
    <p:extLst>
      <p:ext uri="{BB962C8B-B14F-4D97-AF65-F5344CB8AC3E}">
        <p14:creationId xmlns:p14="http://schemas.microsoft.com/office/powerpoint/2010/main" val="138972342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6" y="1653702"/>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6" name="Freeform 65">
            <a:extLst>
              <a:ext uri="{FF2B5EF4-FFF2-40B4-BE49-F238E27FC236}">
                <a16:creationId xmlns:a16="http://schemas.microsoft.com/office/drawing/2014/main" id="{DDAEF4F6-E358-4249-AAEE-917895E8A324}"/>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AECC87F0-E88C-754F-87EB-E17B901550EB}"/>
              </a:ext>
            </a:extLst>
          </p:cNvPr>
          <p:cNvPicPr>
            <a:picLocks noChangeAspect="1"/>
          </p:cNvPicPr>
          <p:nvPr userDrawn="1"/>
        </p:nvPicPr>
        <p:blipFill rotWithShape="1">
          <a:blip r:embed="rId2"/>
          <a:srcRect l="5104" t="18926" r="5724" b="17001"/>
          <a:stretch/>
        </p:blipFill>
        <p:spPr>
          <a:xfrm>
            <a:off x="7014162" y="455376"/>
            <a:ext cx="1645920" cy="319424"/>
          </a:xfrm>
          <a:prstGeom prst="rect">
            <a:avLst/>
          </a:prstGeom>
        </p:spPr>
      </p:pic>
      <p:pic>
        <p:nvPicPr>
          <p:cNvPr id="11" name="Picture 10">
            <a:extLst>
              <a:ext uri="{FF2B5EF4-FFF2-40B4-BE49-F238E27FC236}">
                <a16:creationId xmlns:a16="http://schemas.microsoft.com/office/drawing/2014/main" id="{8551D179-4685-AB49-B364-BAB3785CBDEA}"/>
              </a:ext>
            </a:extLst>
          </p:cNvPr>
          <p:cNvPicPr>
            <a:picLocks noChangeAspect="1"/>
          </p:cNvPicPr>
          <p:nvPr userDrawn="1"/>
        </p:nvPicPr>
        <p:blipFill>
          <a:blip r:embed="rId3"/>
          <a:srcRect/>
          <a:stretch/>
        </p:blipFill>
        <p:spPr>
          <a:xfrm>
            <a:off x="364164" y="221305"/>
            <a:ext cx="1493771" cy="769644"/>
          </a:xfrm>
          <a:prstGeom prst="rect">
            <a:avLst/>
          </a:prstGeom>
        </p:spPr>
      </p:pic>
    </p:spTree>
    <p:extLst>
      <p:ext uri="{BB962C8B-B14F-4D97-AF65-F5344CB8AC3E}">
        <p14:creationId xmlns:p14="http://schemas.microsoft.com/office/powerpoint/2010/main" val="207963700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pic>
        <p:nvPicPr>
          <p:cNvPr id="10" name="Picture 9">
            <a:extLst>
              <a:ext uri="{FF2B5EF4-FFF2-40B4-BE49-F238E27FC236}">
                <a16:creationId xmlns:a16="http://schemas.microsoft.com/office/drawing/2014/main" id="{D57DDBBB-C48F-744F-B299-18CD2CF3F226}"/>
              </a:ext>
            </a:extLst>
          </p:cNvPr>
          <p:cNvPicPr>
            <a:picLocks noChangeAspect="1"/>
          </p:cNvPicPr>
          <p:nvPr userDrawn="1"/>
        </p:nvPicPr>
        <p:blipFill rotWithShape="1">
          <a:blip r:embed="rId3"/>
          <a:srcRect l="5104" t="18926" r="5724" b="17001"/>
          <a:stretch/>
        </p:blipFill>
        <p:spPr>
          <a:xfrm>
            <a:off x="7014162" y="455376"/>
            <a:ext cx="1645920" cy="319424"/>
          </a:xfrm>
          <a:prstGeom prst="rect">
            <a:avLst/>
          </a:prstGeom>
        </p:spPr>
      </p:pic>
      <p:pic>
        <p:nvPicPr>
          <p:cNvPr id="11" name="Picture 10">
            <a:extLst>
              <a:ext uri="{FF2B5EF4-FFF2-40B4-BE49-F238E27FC236}">
                <a16:creationId xmlns:a16="http://schemas.microsoft.com/office/drawing/2014/main" id="{3BBDF048-2E6A-034A-B6C9-B7EE8F4C884B}"/>
              </a:ext>
            </a:extLst>
          </p:cNvPr>
          <p:cNvPicPr>
            <a:picLocks noChangeAspect="1"/>
          </p:cNvPicPr>
          <p:nvPr userDrawn="1"/>
        </p:nvPicPr>
        <p:blipFill>
          <a:blip r:embed="rId4"/>
          <a:srcRect/>
          <a:stretch/>
        </p:blipFill>
        <p:spPr>
          <a:xfrm>
            <a:off x="364164" y="221305"/>
            <a:ext cx="1493771" cy="769644"/>
          </a:xfrm>
          <a:prstGeom prst="rect">
            <a:avLst/>
          </a:prstGeom>
        </p:spPr>
      </p:pic>
    </p:spTree>
    <p:extLst>
      <p:ext uri="{BB962C8B-B14F-4D97-AF65-F5344CB8AC3E}">
        <p14:creationId xmlns:p14="http://schemas.microsoft.com/office/powerpoint/2010/main" val="5982937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5"/>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1">
              <a:alpha val="50000"/>
            </a:schemeClr>
          </a:solidFill>
          <a:ln w="20071" cap="flat">
            <a:noFill/>
            <a:prstDash val="solid"/>
            <a:miter/>
          </a:ln>
        </p:spPr>
        <p:txBody>
          <a:bodyPr rtlCol="0" anchor="ctr"/>
          <a:lstStyle/>
          <a:p>
            <a:endParaRPr lang="en-US" dirty="0"/>
          </a:p>
        </p:txBody>
      </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6"/>
            <a:ext cx="1128042" cy="207621"/>
            <a:chOff x="4467257" y="275609"/>
            <a:chExt cx="1102102" cy="202847"/>
          </a:xfrm>
          <a:solidFill>
            <a:schemeClr val="accent1"/>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4" y="531813"/>
            <a:ext cx="4204117" cy="3983038"/>
          </a:xfrm>
          <a:prstGeom prst="rect">
            <a:avLst/>
          </a:prstGeom>
        </p:spPr>
        <p:txBody>
          <a:bodyPr anchor="ctr">
            <a:noAutofit/>
          </a:bodyPr>
          <a:lstStyle>
            <a:lvl1pPr marL="274320" indent="-274320">
              <a:spcBef>
                <a:spcPts val="2400"/>
              </a:spcBef>
              <a:buClr>
                <a:schemeClr val="accent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dirty="0"/>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8" y="1328615"/>
            <a:ext cx="3180553" cy="1105079"/>
          </a:xfrm>
          <a:prstGeom prst="rect">
            <a:avLst/>
          </a:prstGeom>
        </p:spPr>
        <p:txBody>
          <a:bodyPr wrap="square" anchor="ctr">
            <a:normAutofit/>
          </a:bodyPr>
          <a:lstStyle/>
          <a:p>
            <a:pPr algn="l" defTabSz="684213" rtl="0" eaLnBrk="1" fontAlgn="base" hangingPunct="1">
              <a:lnSpc>
                <a:spcPct val="85000"/>
              </a:lnSpc>
              <a:spcBef>
                <a:spcPct val="0"/>
              </a:spcBef>
              <a:spcAft>
                <a:spcPct val="0"/>
              </a:spcAft>
            </a:pPr>
            <a:r>
              <a:rPr lang="en-US" sz="2800" b="0" i="0" u="none" kern="1200" baseline="0" dirty="0">
                <a:solidFill>
                  <a:schemeClr val="bg1"/>
                </a:solidFill>
                <a:latin typeface="+mj-lt"/>
                <a:cs typeface="CiscoSansTT Thin" charset="0"/>
              </a:rPr>
              <a:t>Agenda</a:t>
            </a:r>
          </a:p>
        </p:txBody>
      </p:sp>
      <p:grpSp>
        <p:nvGrpSpPr>
          <p:cNvPr id="19" name="Group 18">
            <a:extLst>
              <a:ext uri="{FF2B5EF4-FFF2-40B4-BE49-F238E27FC236}">
                <a16:creationId xmlns:a16="http://schemas.microsoft.com/office/drawing/2014/main" id="{DFB5A850-2000-6347-B552-434CEC9692A2}"/>
              </a:ext>
            </a:extLst>
          </p:cNvPr>
          <p:cNvGrpSpPr/>
          <p:nvPr userDrawn="1"/>
        </p:nvGrpSpPr>
        <p:grpSpPr>
          <a:xfrm>
            <a:off x="282292" y="2563081"/>
            <a:ext cx="3178762" cy="580089"/>
            <a:chOff x="5098310" y="621568"/>
            <a:chExt cx="1477115" cy="269557"/>
          </a:xfrm>
          <a:gradFill>
            <a:gsLst>
              <a:gs pos="49000">
                <a:schemeClr val="bg1">
                  <a:alpha val="6000"/>
                </a:schemeClr>
              </a:gs>
              <a:gs pos="87000">
                <a:schemeClr val="bg2">
                  <a:alpha val="40000"/>
                </a:schemeClr>
              </a:gs>
              <a:gs pos="5000">
                <a:schemeClr val="bg2">
                  <a:alpha val="0"/>
                </a:schemeClr>
              </a:gs>
            </a:gsLst>
            <a:lin ang="600000" scaled="0"/>
          </a:gradFill>
        </p:grpSpPr>
        <p:sp>
          <p:nvSpPr>
            <p:cNvPr id="20" name="Freeform 19">
              <a:extLst>
                <a:ext uri="{FF2B5EF4-FFF2-40B4-BE49-F238E27FC236}">
                  <a16:creationId xmlns:a16="http://schemas.microsoft.com/office/drawing/2014/main" id="{8F7E193E-DD3F-0B4D-85B4-D06701A47F96}"/>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DE494EF-B7D1-9648-95B6-D6CD4DC52346}"/>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1DC1917-FAEA-B240-A2BC-453B855C83E7}"/>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D81D5C68-3593-A04E-B935-D017F1656B8F}"/>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CFC8861-7A27-9741-A819-6F9B9CE7F091}"/>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1315205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59484886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116650803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68055855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accent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tx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84206481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86BE431-24C5-E54F-A4C8-A1F6009F30BD}"/>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accent1"/>
                </a:solidFill>
              </a:defRPr>
            </a:lvl1pPr>
          </a:lstStyle>
          <a:p>
            <a:r>
              <a:rPr lang="en-US" dirty="0"/>
              <a:t>##</a:t>
            </a:r>
            <a:endParaRPr dirty="0"/>
          </a:p>
        </p:txBody>
      </p:sp>
      <p:sp>
        <p:nvSpPr>
          <p:cNvPr id="18" name="Text Placeholder 12">
            <a:extLst>
              <a:ext uri="{FF2B5EF4-FFF2-40B4-BE49-F238E27FC236}">
                <a16:creationId xmlns:a16="http://schemas.microsoft.com/office/drawing/2014/main" id="{9FE0A934-72D8-3949-B463-B67D8D143AE8}"/>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accent1"/>
                </a:solidFill>
              </a:defRPr>
            </a:lvl1pPr>
          </a:lstStyle>
          <a:p>
            <a:pPr lvl="0"/>
            <a:r>
              <a:rPr lang="en-US"/>
              <a:t>##</a:t>
            </a:r>
          </a:p>
        </p:txBody>
      </p:sp>
      <p:sp>
        <p:nvSpPr>
          <p:cNvPr id="19" name="Text Placeholder 2">
            <a:extLst>
              <a:ext uri="{FF2B5EF4-FFF2-40B4-BE49-F238E27FC236}">
                <a16:creationId xmlns:a16="http://schemas.microsoft.com/office/drawing/2014/main" id="{5E9655FC-3F61-9F49-8308-EF0FB5AE227B}"/>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accent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20" name="Text Placeholder 14">
            <a:extLst>
              <a:ext uri="{FF2B5EF4-FFF2-40B4-BE49-F238E27FC236}">
                <a16:creationId xmlns:a16="http://schemas.microsoft.com/office/drawing/2014/main" id="{D1FE9F11-9B68-8542-8CD5-4A31007623A3}"/>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1" name="Text Placeholder 14">
            <a:extLst>
              <a:ext uri="{FF2B5EF4-FFF2-40B4-BE49-F238E27FC236}">
                <a16:creationId xmlns:a16="http://schemas.microsoft.com/office/drawing/2014/main" id="{DA1D0FD9-814A-854E-B303-72F77DDDF739}"/>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2" name="Text Placeholder 14">
            <a:extLst>
              <a:ext uri="{FF2B5EF4-FFF2-40B4-BE49-F238E27FC236}">
                <a16:creationId xmlns:a16="http://schemas.microsoft.com/office/drawing/2014/main" id="{87E4A93B-F98D-9148-A567-7F60A945CB4C}"/>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accent1"/>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Tree>
    <p:extLst>
      <p:ext uri="{BB962C8B-B14F-4D97-AF65-F5344CB8AC3E}">
        <p14:creationId xmlns:p14="http://schemas.microsoft.com/office/powerpoint/2010/main" val="3019513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77844350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accent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8" name="Text Placeholder 14">
            <a:extLst>
              <a:ext uri="{FF2B5EF4-FFF2-40B4-BE49-F238E27FC236}">
                <a16:creationId xmlns:a16="http://schemas.microsoft.com/office/drawing/2014/main" id="{BF524472-0C76-3244-B104-518268EC6AAC}"/>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9" name="Text Placeholder 14">
            <a:extLst>
              <a:ext uri="{FF2B5EF4-FFF2-40B4-BE49-F238E27FC236}">
                <a16:creationId xmlns:a16="http://schemas.microsoft.com/office/drawing/2014/main" id="{96946D87-E546-C540-BA0D-AC6D38EB25CF}"/>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4" name="Text Placeholder 14">
            <a:extLst>
              <a:ext uri="{FF2B5EF4-FFF2-40B4-BE49-F238E27FC236}">
                <a16:creationId xmlns:a16="http://schemas.microsoft.com/office/drawing/2014/main" id="{F580CAE0-CE55-554D-9765-2D4829851B1B}"/>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0" name="Rectangle 7">
            <a:extLst>
              <a:ext uri="{FF2B5EF4-FFF2-40B4-BE49-F238E27FC236}">
                <a16:creationId xmlns:a16="http://schemas.microsoft.com/office/drawing/2014/main" id="{EBF7D149-1621-9141-B9C3-C6BA64906AA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sp>
        <p:nvSpPr>
          <p:cNvPr id="21" name="Rectangle 4">
            <a:extLst>
              <a:ext uri="{FF2B5EF4-FFF2-40B4-BE49-F238E27FC236}">
                <a16:creationId xmlns:a16="http://schemas.microsoft.com/office/drawing/2014/main" id="{D062C616-14A8-3347-B71B-037844E9B1CB}"/>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23" name="Picture 22">
            <a:extLst>
              <a:ext uri="{FF2B5EF4-FFF2-40B4-BE49-F238E27FC236}">
                <a16:creationId xmlns:a16="http://schemas.microsoft.com/office/drawing/2014/main" id="{8C174FB3-9259-CD4F-944D-50859FB3DBCF}"/>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363677200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alpha val="50000"/>
                  </a:schemeClr>
                </a:solidFill>
                <a:latin typeface="+mn-lt"/>
                <a:ea typeface="+mn-ea"/>
                <a:cs typeface="CiscoSans Thin"/>
              </a:rPr>
              <a:t>© 2021 Cisco and/or its affiliates. All rights reserved. Cisco Confidential   </a:t>
            </a:r>
          </a:p>
        </p:txBody>
      </p:sp>
      <p:pic>
        <p:nvPicPr>
          <p:cNvPr id="26" name="Picture 25">
            <a:extLst>
              <a:ext uri="{FF2B5EF4-FFF2-40B4-BE49-F238E27FC236}">
                <a16:creationId xmlns:a16="http://schemas.microsoft.com/office/drawing/2014/main" id="{CC8D4C5C-86B8-CA45-8008-AF25AB9C4EF7}"/>
              </a:ext>
            </a:extLst>
          </p:cNvPr>
          <p:cNvPicPr>
            <a:picLocks noChangeAspect="1"/>
          </p:cNvPicPr>
          <p:nvPr userDrawn="1"/>
        </p:nvPicPr>
        <p:blipFill>
          <a:blip r:embed="rId3"/>
          <a:stretch>
            <a:fillRect/>
          </a:stretch>
        </p:blipFill>
        <p:spPr>
          <a:xfrm>
            <a:off x="528762" y="4754880"/>
            <a:ext cx="921665" cy="155093"/>
          </a:xfrm>
          <a:prstGeom prst="rect">
            <a:avLst/>
          </a:prstGeom>
        </p:spPr>
      </p:pic>
    </p:spTree>
    <p:extLst>
      <p:ext uri="{BB962C8B-B14F-4D97-AF65-F5344CB8AC3E}">
        <p14:creationId xmlns:p14="http://schemas.microsoft.com/office/powerpoint/2010/main" val="5240483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2993549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a:prstGeom prst="rect">
            <a:avLst/>
          </a:prstGeom>
        </p:spPr>
        <p:txBody>
          <a:bodyPr/>
          <a:lstStyle>
            <a:lvl1pPr>
              <a:defRPr/>
            </a:lvl1pPr>
            <a:lvl2pPr>
              <a:defRPr/>
            </a:lvl2pPr>
            <a:lvl3pPr>
              <a:defRPr/>
            </a:lvl3pPr>
          </a:lstStyle>
          <a:p>
            <a:pPr lvl="0"/>
            <a:r>
              <a:rPr lang="en-US"/>
              <a:t>First level (use “Indent More” or “Indent Less” to format sub-bullet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763461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solidFill>
                <a:schemeClr val="tx2"/>
              </a:solidFill>
              <a:prstDash val="solid"/>
              <a:miter/>
            </a:ln>
          </p:spPr>
          <p:txBody>
            <a:bodyPr rtlCol="0" anchor="ctr"/>
            <a:lstStyle/>
            <a:p>
              <a:endParaRPr lang="en-US" dirty="0"/>
            </a:p>
          </p:txBody>
        </p:sp>
      </p:grpSp>
    </p:spTree>
    <p:extLst>
      <p:ext uri="{BB962C8B-B14F-4D97-AF65-F5344CB8AC3E}">
        <p14:creationId xmlns:p14="http://schemas.microsoft.com/office/powerpoint/2010/main" val="8287306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6" y="1204180"/>
            <a:ext cx="5776767"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B8334349-246B-8747-8834-B21ED22A0F6B}"/>
              </a:ext>
            </a:extLst>
          </p:cNvPr>
          <p:cNvGrpSpPr/>
          <p:nvPr userDrawn="1"/>
        </p:nvGrpSpPr>
        <p:grpSpPr>
          <a:xfrm>
            <a:off x="5994367" y="2003514"/>
            <a:ext cx="3149633" cy="3139986"/>
            <a:chOff x="5994367" y="2003514"/>
            <a:chExt cx="3149633" cy="3139986"/>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24" name="Graphic 15">
              <a:extLst>
                <a:ext uri="{FF2B5EF4-FFF2-40B4-BE49-F238E27FC236}">
                  <a16:creationId xmlns:a16="http://schemas.microsoft.com/office/drawing/2014/main" id="{61B2E654-3726-7541-8BF3-7A6A41A2515F}"/>
                </a:ext>
              </a:extLst>
            </p:cNvPr>
            <p:cNvSpPr>
              <a:spLocks noChangeAspect="1"/>
            </p:cNvSpPr>
            <p:nvPr userDrawn="1"/>
          </p:nvSpPr>
          <p:spPr>
            <a:xfrm>
              <a:off x="5994367" y="2282468"/>
              <a:ext cx="2549557" cy="2532420"/>
            </a:xfrm>
            <a:custGeom>
              <a:avLst/>
              <a:gdLst>
                <a:gd name="connsiteX0" fmla="*/ 1898713 w 1898712"/>
                <a:gd name="connsiteY0" fmla="*/ 1885950 h 1885950"/>
                <a:gd name="connsiteX1" fmla="*/ 1898713 w 1898712"/>
                <a:gd name="connsiteY1" fmla="*/ 0 h 1885950"/>
                <a:gd name="connsiteX2" fmla="*/ 0 w 1898712"/>
                <a:gd name="connsiteY2" fmla="*/ 1885950 h 1885950"/>
                <a:gd name="connsiteX3" fmla="*/ 1898713 w 1898712"/>
                <a:gd name="connsiteY3" fmla="*/ 1885950 h 1885950"/>
              </a:gdLst>
              <a:ahLst/>
              <a:cxnLst>
                <a:cxn ang="0">
                  <a:pos x="connsiteX0" y="connsiteY0"/>
                </a:cxn>
                <a:cxn ang="0">
                  <a:pos x="connsiteX1" y="connsiteY1"/>
                </a:cxn>
                <a:cxn ang="0">
                  <a:pos x="connsiteX2" y="connsiteY2"/>
                </a:cxn>
                <a:cxn ang="0">
                  <a:pos x="connsiteX3" y="connsiteY3"/>
                </a:cxn>
              </a:cxnLst>
              <a:rect l="l" t="t" r="r" b="b"/>
              <a:pathLst>
                <a:path w="1898712" h="1885950">
                  <a:moveTo>
                    <a:pt x="1898713" y="1885950"/>
                  </a:moveTo>
                  <a:lnTo>
                    <a:pt x="1898713" y="0"/>
                  </a:lnTo>
                  <a:lnTo>
                    <a:pt x="0" y="1885950"/>
                  </a:lnTo>
                  <a:lnTo>
                    <a:pt x="1898713" y="1885950"/>
                  </a:lnTo>
                  <a:close/>
                </a:path>
              </a:pathLst>
            </a:custGeom>
            <a:noFill/>
            <a:ln w="18956" cap="flat">
              <a:solidFill>
                <a:srgbClr val="6EBE4A"/>
              </a:solidFill>
              <a:prstDash val="solid"/>
              <a:round/>
            </a:ln>
          </p:spPr>
          <p:txBody>
            <a:bodyPr rtlCol="0" anchor="ctr"/>
            <a:lstStyle/>
            <a:p>
              <a:endParaRPr lang="en-US"/>
            </a:p>
          </p:txBody>
        </p:sp>
        <p:pic>
          <p:nvPicPr>
            <p:cNvPr id="25" name="Picture 24">
              <a:extLst>
                <a:ext uri="{FF2B5EF4-FFF2-40B4-BE49-F238E27FC236}">
                  <a16:creationId xmlns:a16="http://schemas.microsoft.com/office/drawing/2014/main" id="{8FF7D66D-FD86-A149-A8F5-117A6B95054D}"/>
                </a:ext>
              </a:extLst>
            </p:cNvPr>
            <p:cNvPicPr>
              <a:picLocks noChangeAspect="1"/>
            </p:cNvPicPr>
            <p:nvPr userDrawn="1"/>
          </p:nvPicPr>
          <p:blipFill rotWithShape="1">
            <a:blip r:embed="rId2" cstate="print">
              <a:alphaModFix amt="57000"/>
              <a:extLst>
                <a:ext uri="{28A0092B-C50C-407E-A947-70E740481C1C}">
                  <a14:useLocalDpi xmlns:a14="http://schemas.microsoft.com/office/drawing/2010/main"/>
                </a:ext>
              </a:extLst>
            </a:blip>
            <a:srcRect/>
            <a:stretch/>
          </p:blipFill>
          <p:spPr>
            <a:xfrm flipH="1">
              <a:off x="6295635" y="2576064"/>
              <a:ext cx="1878266" cy="1876597"/>
            </a:xfrm>
            <a:prstGeom prst="ellipse">
              <a:avLst/>
            </a:prstGeom>
            <a:ln>
              <a:noFill/>
            </a:ln>
            <a:effectLst>
              <a:softEdge rad="0"/>
            </a:effectLst>
          </p:spPr>
        </p:pic>
        <p:pic>
          <p:nvPicPr>
            <p:cNvPr id="26" name="Picture 25">
              <a:extLst>
                <a:ext uri="{FF2B5EF4-FFF2-40B4-BE49-F238E27FC236}">
                  <a16:creationId xmlns:a16="http://schemas.microsoft.com/office/drawing/2014/main" id="{6EFFB74B-6D0F-2B4F-9D09-C30F4CF0324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684101" y="2003514"/>
              <a:ext cx="2459899" cy="3139986"/>
            </a:xfrm>
            <a:prstGeom prst="rect">
              <a:avLst/>
            </a:prstGeom>
          </p:spPr>
        </p:pic>
      </p:grpSp>
    </p:spTree>
    <p:extLst>
      <p:ext uri="{BB962C8B-B14F-4D97-AF65-F5344CB8AC3E}">
        <p14:creationId xmlns:p14="http://schemas.microsoft.com/office/powerpoint/2010/main" val="300601094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8812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0"/>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0"/>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9250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100606697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177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59452251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80431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no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8"/>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82667909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79314464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6"/>
            <a:ext cx="8115300" cy="2834640"/>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192D2533-5FB4-AD42-B121-FD71B68AF10D}"/>
              </a:ext>
            </a:extLst>
          </p:cNvPr>
          <p:cNvSpPr>
            <a:spLocks noGrp="1"/>
          </p:cNvSpPr>
          <p:nvPr>
            <p:ph type="body" sz="quarter" idx="11" hasCustomPrompt="1"/>
          </p:nvPr>
        </p:nvSpPr>
        <p:spPr>
          <a:xfrm>
            <a:off x="437766" y="4038153"/>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82835028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194243"/>
            <a:ext cx="8115300" cy="2834640"/>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72E1AAE4-B921-5B4D-A9EB-F575EB38B943}"/>
              </a:ext>
            </a:extLst>
          </p:cNvPr>
          <p:cNvSpPr>
            <a:spLocks noGrp="1"/>
          </p:cNvSpPr>
          <p:nvPr>
            <p:ph type="body" sz="quarter" idx="11" hasCustomPrompt="1"/>
          </p:nvPr>
        </p:nvSpPr>
        <p:spPr>
          <a:xfrm>
            <a:off x="437766" y="4038154"/>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285833097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Half Page Bullet + Image">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6" name="Title Placeholder 5"/>
          <p:cNvSpPr>
            <a:spLocks noGrp="1"/>
          </p:cNvSpPr>
          <p:nvPr>
            <p:ph type="title" hasCustomPrompt="1"/>
          </p:nvPr>
        </p:nvSpPr>
        <p:spPr bwMode="auto">
          <a:xfrm>
            <a:off x="437766"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sp>
        <p:nvSpPr>
          <p:cNvPr id="16" name="Text Placeholder 3">
            <a:extLst>
              <a:ext uri="{FF2B5EF4-FFF2-40B4-BE49-F238E27FC236}">
                <a16:creationId xmlns:a16="http://schemas.microsoft.com/office/drawing/2014/main" id="{35DFCE68-AC05-4B44-8313-C09DF7E1BF29}"/>
              </a:ext>
            </a:extLst>
          </p:cNvPr>
          <p:cNvSpPr>
            <a:spLocks noGrp="1"/>
          </p:cNvSpPr>
          <p:nvPr>
            <p:ph type="body" sz="quarter" idx="12" hasCustomPrompt="1"/>
          </p:nvPr>
        </p:nvSpPr>
        <p:spPr>
          <a:xfrm>
            <a:off x="437766" y="1665182"/>
            <a:ext cx="3662024" cy="2849668"/>
          </a:xfrm>
          <a:prstGeom prst="rect">
            <a:avLst/>
          </a:prstGeom>
        </p:spPr>
        <p:txBody>
          <a:bodyPr vert="horz" lIns="91440" tIns="45720" rIns="91440" bIns="45720" rtlCol="0" anchor="t">
            <a:noAutofit/>
          </a:bodyPr>
          <a:lstStyle>
            <a:lvl1pPr marL="228600" indent="-219456">
              <a:buClr>
                <a:schemeClr val="accent1"/>
              </a:buClr>
              <a:defRPr lang="en-GB" dirty="0">
                <a:solidFill>
                  <a:schemeClr val="bg2"/>
                </a:solidFill>
              </a:defRPr>
            </a:lvl1pPr>
            <a:lvl2pPr marL="448056" indent="-210312">
              <a:buClr>
                <a:schemeClr val="accent1"/>
              </a:buClr>
              <a:tabLst>
                <a:tab pos="171450" algn="l"/>
              </a:tabLst>
              <a:defRPr lang="en-GB" dirty="0">
                <a:solidFill>
                  <a:schemeClr val="bg2"/>
                </a:solidFill>
              </a:defRPr>
            </a:lvl2pPr>
            <a:lvl3pPr marL="621792" indent="-173736">
              <a:buClr>
                <a:schemeClr val="accent1"/>
              </a:buClr>
              <a:defRPr lang="en-GB" dirty="0">
                <a:solidFill>
                  <a:schemeClr val="bg2"/>
                </a:solidFill>
              </a:defRPr>
            </a:lvl3pPr>
            <a:lvl4pPr marL="804672" indent="-201168">
              <a:buClr>
                <a:schemeClr val="accent1"/>
              </a:buClr>
              <a:defRPr lang="en-GB" dirty="0">
                <a:solidFill>
                  <a:schemeClr val="bg2"/>
                </a:solidFill>
              </a:defRPr>
            </a:lvl4pPr>
            <a:lvl5pPr marL="969264" indent="-173736">
              <a:buClr>
                <a:schemeClr val="accent1"/>
              </a:buClr>
              <a:defRPr lang="en-US" dirty="0">
                <a:solidFill>
                  <a:schemeClr val="bg2"/>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28" name="Picture 27">
            <a:extLst>
              <a:ext uri="{FF2B5EF4-FFF2-40B4-BE49-F238E27FC236}">
                <a16:creationId xmlns:a16="http://schemas.microsoft.com/office/drawing/2014/main" id="{C44B64B2-2AAE-0544-97BB-CF8FAEF006E7}"/>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251729680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Half Page + Bulle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29235" y="1657350"/>
            <a:ext cx="3813048"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sp>
        <p:nvSpPr>
          <p:cNvPr id="15" name="Text Placeholder 3">
            <a:extLst>
              <a:ext uri="{FF2B5EF4-FFF2-40B4-BE49-F238E27FC236}">
                <a16:creationId xmlns:a16="http://schemas.microsoft.com/office/drawing/2014/main" id="{55BECF40-332B-7245-9C28-01DE7BED6BA3}"/>
              </a:ext>
            </a:extLst>
          </p:cNvPr>
          <p:cNvSpPr>
            <a:spLocks noGrp="1"/>
          </p:cNvSpPr>
          <p:nvPr>
            <p:ph type="body" sz="quarter" idx="12" hasCustomPrompt="1"/>
          </p:nvPr>
        </p:nvSpPr>
        <p:spPr>
          <a:xfrm>
            <a:off x="4993516" y="416820"/>
            <a:ext cx="3749040" cy="4206240"/>
          </a:xfrm>
          <a:prstGeom prst="rect">
            <a:avLst/>
          </a:prstGeom>
        </p:spPr>
        <p:txBody>
          <a:bodyPr vert="horz" lIns="91440" tIns="45720" rIns="91440" bIns="45720" rtlCol="0" anchor="ctr">
            <a:noAutofit/>
          </a:bodyPr>
          <a:lstStyle>
            <a:lvl1pPr marL="228600" indent="-219456">
              <a:buClr>
                <a:schemeClr val="accent1"/>
              </a:buClr>
              <a:defRPr lang="en-GB" dirty="0">
                <a:solidFill>
                  <a:schemeClr val="tx1"/>
                </a:solidFill>
              </a:defRPr>
            </a:lvl1pPr>
            <a:lvl2pPr marL="448056" indent="-210312">
              <a:buClr>
                <a:schemeClr val="accent1"/>
              </a:buClr>
              <a:tabLst>
                <a:tab pos="171450" algn="l"/>
              </a:tabLst>
              <a:defRPr lang="en-GB" dirty="0">
                <a:solidFill>
                  <a:schemeClr val="tx1"/>
                </a:solidFill>
              </a:defRPr>
            </a:lvl2pPr>
            <a:lvl3pPr marL="621792" indent="-173736">
              <a:buClr>
                <a:schemeClr val="accent1"/>
              </a:buClr>
              <a:defRPr lang="en-GB" dirty="0">
                <a:solidFill>
                  <a:schemeClr val="tx1"/>
                </a:solidFill>
              </a:defRPr>
            </a:lvl3pPr>
            <a:lvl4pPr marL="804672" indent="-201168">
              <a:buClr>
                <a:schemeClr val="accent1"/>
              </a:buClr>
              <a:defRPr lang="en-GB" dirty="0">
                <a:solidFill>
                  <a:schemeClr val="tx1"/>
                </a:solidFill>
              </a:defRPr>
            </a:lvl4pPr>
            <a:lvl5pPr marL="969264" indent="-173736">
              <a:buClr>
                <a:schemeClr val="accent1"/>
              </a:buClr>
              <a:defRPr lang="en-US" dirty="0">
                <a:solidFill>
                  <a:schemeClr val="tx1"/>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16" name="Picture 15">
            <a:extLst>
              <a:ext uri="{FF2B5EF4-FFF2-40B4-BE49-F238E27FC236}">
                <a16:creationId xmlns:a16="http://schemas.microsoft.com/office/drawing/2014/main" id="{0ED88771-3A4B-FA4B-A6A2-73144B112015}"/>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272611024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74920" y="498360"/>
            <a:ext cx="3566160" cy="356616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78413" y="4377076"/>
            <a:ext cx="3559175" cy="457200"/>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16" name="Picture 15">
            <a:extLst>
              <a:ext uri="{FF2B5EF4-FFF2-40B4-BE49-F238E27FC236}">
                <a16:creationId xmlns:a16="http://schemas.microsoft.com/office/drawing/2014/main" id="{2B5AF067-E270-6340-8783-D8B22136B81F}"/>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277680161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14" name="Picture 13">
            <a:extLst>
              <a:ext uri="{FF2B5EF4-FFF2-40B4-BE49-F238E27FC236}">
                <a16:creationId xmlns:a16="http://schemas.microsoft.com/office/drawing/2014/main" id="{26F346CA-4563-484A-B1A2-44A580D07D7C}"/>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316814050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15" name="Picture 14">
            <a:extLst>
              <a:ext uri="{FF2B5EF4-FFF2-40B4-BE49-F238E27FC236}">
                <a16:creationId xmlns:a16="http://schemas.microsoft.com/office/drawing/2014/main" id="{4E71D0A8-1E05-8948-84F4-22AE9FE0FA5C}"/>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329154193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29883171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Half Page +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15" name="Picture 14">
            <a:extLst>
              <a:ext uri="{FF2B5EF4-FFF2-40B4-BE49-F238E27FC236}">
                <a16:creationId xmlns:a16="http://schemas.microsoft.com/office/drawing/2014/main" id="{274E1B27-FCF0-2441-B9C7-FFF2B79572FF}"/>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3614703520"/>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Half Page + Table">
    <p:spTree>
      <p:nvGrpSpPr>
        <p:cNvPr id="1" name=""/>
        <p:cNvGrpSpPr/>
        <p:nvPr/>
      </p:nvGrpSpPr>
      <p:grpSpPr>
        <a:xfrm>
          <a:off x="0" y="0"/>
          <a:ext cx="0" cy="0"/>
          <a:chOff x="0" y="0"/>
          <a:chExt cx="0" cy="0"/>
        </a:xfrm>
      </p:grpSpPr>
      <p:sp>
        <p:nvSpPr>
          <p:cNvPr id="4" name="Rectangle 3"/>
          <p:cNvSpPr/>
          <p:nvPr userDrawn="1"/>
        </p:nvSpPr>
        <p:spPr>
          <a:xfrm>
            <a:off x="-8092"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endParaRPr lang="en-US" dirty="0"/>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1 Cisco and/or its affiliates. All rights reserved. Cisco Confidential   </a:t>
            </a:r>
          </a:p>
        </p:txBody>
      </p:sp>
      <p:pic>
        <p:nvPicPr>
          <p:cNvPr id="16" name="Picture 15">
            <a:extLst>
              <a:ext uri="{FF2B5EF4-FFF2-40B4-BE49-F238E27FC236}">
                <a16:creationId xmlns:a16="http://schemas.microsoft.com/office/drawing/2014/main" id="{EF6F5EFF-AEF1-F748-9770-793417251AA8}"/>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194802005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8E85C6-4576-1542-A88E-558C57D0604F}"/>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261515489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232801-7386-0C44-9230-013FBE15608D}"/>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77855652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Closing – White">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6D49DD-7341-6C49-988B-89AC853B386E}"/>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382385509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7"/>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50"/>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3"/>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2"/>
            <a:ext cx="8339328" cy="299001"/>
          </a:xfrm>
          <a:prstGeom prst="rect">
            <a:avLst/>
          </a:prstGeom>
        </p:spPr>
        <p:txBody>
          <a:bodyPr lIns="91420" tIns="45710" rIns="91420" bIns="45710" anchor="t"/>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9" name="Picture 8" descr="A picture containing drawing&#10;&#10;Description automatically generated">
            <a:extLst>
              <a:ext uri="{FF2B5EF4-FFF2-40B4-BE49-F238E27FC236}">
                <a16:creationId xmlns:a16="http://schemas.microsoft.com/office/drawing/2014/main" id="{DFF5A03F-62C1-0740-BE1A-3C1C0CAFBFA9}"/>
              </a:ext>
            </a:extLst>
          </p:cNvPr>
          <p:cNvPicPr>
            <a:picLocks noChangeAspect="1"/>
          </p:cNvPicPr>
          <p:nvPr userDrawn="1"/>
        </p:nvPicPr>
        <p:blipFill>
          <a:blip r:embed="rId2"/>
          <a:stretch>
            <a:fillRect/>
          </a:stretch>
        </p:blipFill>
        <p:spPr>
          <a:xfrm>
            <a:off x="7046208" y="487543"/>
            <a:ext cx="1593916" cy="246013"/>
          </a:xfrm>
          <a:prstGeom prst="rect">
            <a:avLst/>
          </a:prstGeom>
        </p:spPr>
      </p:pic>
      <p:pic>
        <p:nvPicPr>
          <p:cNvPr id="10" name="Picture 9" descr="A picture containing plate&#10;&#10;Description automatically generated">
            <a:extLst>
              <a:ext uri="{FF2B5EF4-FFF2-40B4-BE49-F238E27FC236}">
                <a16:creationId xmlns:a16="http://schemas.microsoft.com/office/drawing/2014/main" id="{E3D753F0-EFD9-0848-91C4-34142CE698A4}"/>
              </a:ext>
            </a:extLst>
          </p:cNvPr>
          <p:cNvPicPr>
            <a:picLocks noChangeAspect="1"/>
          </p:cNvPicPr>
          <p:nvPr userDrawn="1"/>
        </p:nvPicPr>
        <p:blipFill>
          <a:blip r:embed="rId3"/>
          <a:stretch>
            <a:fillRect/>
          </a:stretch>
        </p:blipFill>
        <p:spPr>
          <a:xfrm>
            <a:off x="245220" y="221305"/>
            <a:ext cx="1493772" cy="769644"/>
          </a:xfrm>
          <a:prstGeom prst="rect">
            <a:avLst/>
          </a:prstGeom>
        </p:spPr>
      </p:pic>
    </p:spTree>
    <p:extLst>
      <p:ext uri="{BB962C8B-B14F-4D97-AF65-F5344CB8AC3E}">
        <p14:creationId xmlns:p14="http://schemas.microsoft.com/office/powerpoint/2010/main" val="261261651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7"/>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50"/>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3"/>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2"/>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14" name="Picture 13" descr="A picture containing drawing&#10;&#10;Description automatically generated">
            <a:extLst>
              <a:ext uri="{FF2B5EF4-FFF2-40B4-BE49-F238E27FC236}">
                <a16:creationId xmlns:a16="http://schemas.microsoft.com/office/drawing/2014/main" id="{E50E4963-CF0C-B441-AC49-182636025485}"/>
              </a:ext>
            </a:extLst>
          </p:cNvPr>
          <p:cNvPicPr>
            <a:picLocks noChangeAspect="1"/>
          </p:cNvPicPr>
          <p:nvPr userDrawn="1"/>
        </p:nvPicPr>
        <p:blipFill>
          <a:blip r:embed="rId2"/>
          <a:stretch>
            <a:fillRect/>
          </a:stretch>
        </p:blipFill>
        <p:spPr>
          <a:xfrm>
            <a:off x="7046208" y="487543"/>
            <a:ext cx="1593916" cy="246013"/>
          </a:xfrm>
          <a:prstGeom prst="rect">
            <a:avLst/>
          </a:prstGeom>
        </p:spPr>
      </p:pic>
      <p:sp>
        <p:nvSpPr>
          <p:cNvPr id="10" name="Freeform 9">
            <a:extLst>
              <a:ext uri="{FF2B5EF4-FFF2-40B4-BE49-F238E27FC236}">
                <a16:creationId xmlns:a16="http://schemas.microsoft.com/office/drawing/2014/main" id="{D390E896-2761-D44B-9AA3-5AD05EAD2C91}"/>
              </a:ext>
            </a:extLst>
          </p:cNvPr>
          <p:cNvSpPr/>
          <p:nvPr userDrawn="1"/>
        </p:nvSpPr>
        <p:spPr>
          <a:xfrm>
            <a:off x="6551150"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sz="1800"/>
          </a:p>
        </p:txBody>
      </p:sp>
      <p:pic>
        <p:nvPicPr>
          <p:cNvPr id="11" name="Picture 10" descr="A picture containing plate&#10;&#10;Description automatically generated">
            <a:extLst>
              <a:ext uri="{FF2B5EF4-FFF2-40B4-BE49-F238E27FC236}">
                <a16:creationId xmlns:a16="http://schemas.microsoft.com/office/drawing/2014/main" id="{8DF15E44-2C3F-E249-B5E7-261A37B80A8D}"/>
              </a:ext>
            </a:extLst>
          </p:cNvPr>
          <p:cNvPicPr>
            <a:picLocks noChangeAspect="1"/>
          </p:cNvPicPr>
          <p:nvPr userDrawn="1"/>
        </p:nvPicPr>
        <p:blipFill>
          <a:blip r:embed="rId3"/>
          <a:stretch>
            <a:fillRect/>
          </a:stretch>
        </p:blipFill>
        <p:spPr>
          <a:xfrm>
            <a:off x="245220" y="221305"/>
            <a:ext cx="1493772" cy="769644"/>
          </a:xfrm>
          <a:prstGeom prst="rect">
            <a:avLst/>
          </a:prstGeom>
        </p:spPr>
      </p:pic>
    </p:spTree>
    <p:extLst>
      <p:ext uri="{BB962C8B-B14F-4D97-AF65-F5344CB8AC3E}">
        <p14:creationId xmlns:p14="http://schemas.microsoft.com/office/powerpoint/2010/main" val="163215996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7"/>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50"/>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3"/>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2"/>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4"/>
            <a:ext cx="3561494" cy="4070648"/>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D1C30AEE-2CCC-1C4F-AAC7-4D22CB713D64}"/>
              </a:ext>
            </a:extLst>
          </p:cNvPr>
          <p:cNvPicPr>
            <a:picLocks noChangeAspect="1"/>
          </p:cNvPicPr>
          <p:nvPr userDrawn="1"/>
        </p:nvPicPr>
        <p:blipFill>
          <a:blip r:embed="rId3"/>
          <a:stretch>
            <a:fillRect/>
          </a:stretch>
        </p:blipFill>
        <p:spPr>
          <a:xfrm>
            <a:off x="7046208" y="487543"/>
            <a:ext cx="1593916" cy="246013"/>
          </a:xfrm>
          <a:prstGeom prst="rect">
            <a:avLst/>
          </a:prstGeom>
        </p:spPr>
      </p:pic>
      <p:pic>
        <p:nvPicPr>
          <p:cNvPr id="10" name="Picture 9" descr="A picture containing plate&#10;&#10;Description automatically generated">
            <a:extLst>
              <a:ext uri="{FF2B5EF4-FFF2-40B4-BE49-F238E27FC236}">
                <a16:creationId xmlns:a16="http://schemas.microsoft.com/office/drawing/2014/main" id="{6D1EB3FF-7696-804E-86E4-97F958A34DD3}"/>
              </a:ext>
            </a:extLst>
          </p:cNvPr>
          <p:cNvPicPr>
            <a:picLocks noChangeAspect="1"/>
          </p:cNvPicPr>
          <p:nvPr userDrawn="1"/>
        </p:nvPicPr>
        <p:blipFill>
          <a:blip r:embed="rId4"/>
          <a:stretch>
            <a:fillRect/>
          </a:stretch>
        </p:blipFill>
        <p:spPr>
          <a:xfrm>
            <a:off x="245220" y="221305"/>
            <a:ext cx="1493772" cy="769644"/>
          </a:xfrm>
          <a:prstGeom prst="rect">
            <a:avLst/>
          </a:prstGeom>
        </p:spPr>
      </p:pic>
    </p:spTree>
    <p:extLst>
      <p:ext uri="{BB962C8B-B14F-4D97-AF65-F5344CB8AC3E}">
        <p14:creationId xmlns:p14="http://schemas.microsoft.com/office/powerpoint/2010/main" val="278636228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7"/>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50"/>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3"/>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2"/>
            <a:ext cx="8339328"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8" name="Picture 7">
            <a:extLst>
              <a:ext uri="{FF2B5EF4-FFF2-40B4-BE49-F238E27FC236}">
                <a16:creationId xmlns:a16="http://schemas.microsoft.com/office/drawing/2014/main" id="{E66D6FB3-9295-324F-89E7-D6A34001EF0E}"/>
              </a:ext>
            </a:extLst>
          </p:cNvPr>
          <p:cNvPicPr>
            <a:picLocks noChangeAspect="1"/>
          </p:cNvPicPr>
          <p:nvPr userDrawn="1"/>
        </p:nvPicPr>
        <p:blipFill>
          <a:blip r:embed="rId2"/>
          <a:srcRect/>
          <a:stretch/>
        </p:blipFill>
        <p:spPr>
          <a:xfrm>
            <a:off x="245221" y="221305"/>
            <a:ext cx="1493771" cy="769644"/>
          </a:xfrm>
          <a:prstGeom prst="rect">
            <a:avLst/>
          </a:prstGeom>
        </p:spPr>
      </p:pic>
      <p:pic>
        <p:nvPicPr>
          <p:cNvPr id="9" name="Picture 8">
            <a:extLst>
              <a:ext uri="{FF2B5EF4-FFF2-40B4-BE49-F238E27FC236}">
                <a16:creationId xmlns:a16="http://schemas.microsoft.com/office/drawing/2014/main" id="{E5F16324-BEBB-574A-8093-3AC648E1A3A8}"/>
              </a:ext>
            </a:extLst>
          </p:cNvPr>
          <p:cNvPicPr>
            <a:picLocks noChangeAspect="1"/>
          </p:cNvPicPr>
          <p:nvPr userDrawn="1"/>
        </p:nvPicPr>
        <p:blipFill rotWithShape="1">
          <a:blip r:embed="rId3"/>
          <a:srcRect l="5104" t="18926" r="5724" b="17001"/>
          <a:stretch/>
        </p:blipFill>
        <p:spPr>
          <a:xfrm>
            <a:off x="7014162" y="455377"/>
            <a:ext cx="1645920" cy="319424"/>
          </a:xfrm>
          <a:prstGeom prst="rect">
            <a:avLst/>
          </a:prstGeom>
        </p:spPr>
      </p:pic>
    </p:spTree>
    <p:extLst>
      <p:ext uri="{BB962C8B-B14F-4D97-AF65-F5344CB8AC3E}">
        <p14:creationId xmlns:p14="http://schemas.microsoft.com/office/powerpoint/2010/main" val="10805671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7"/>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50"/>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3"/>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2"/>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1653703"/>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6" name="Freeform 65">
            <a:extLst>
              <a:ext uri="{FF2B5EF4-FFF2-40B4-BE49-F238E27FC236}">
                <a16:creationId xmlns:a16="http://schemas.microsoft.com/office/drawing/2014/main" id="{DDAEF4F6-E358-4249-AAEE-917895E8A324}"/>
              </a:ext>
            </a:extLst>
          </p:cNvPr>
          <p:cNvSpPr/>
          <p:nvPr userDrawn="1"/>
        </p:nvSpPr>
        <p:spPr>
          <a:xfrm>
            <a:off x="6551150"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sz="1800"/>
          </a:p>
        </p:txBody>
      </p:sp>
      <p:pic>
        <p:nvPicPr>
          <p:cNvPr id="9" name="Picture 8">
            <a:extLst>
              <a:ext uri="{FF2B5EF4-FFF2-40B4-BE49-F238E27FC236}">
                <a16:creationId xmlns:a16="http://schemas.microsoft.com/office/drawing/2014/main" id="{0C1A98E7-CF6D-A244-BDE6-804C323D86CA}"/>
              </a:ext>
            </a:extLst>
          </p:cNvPr>
          <p:cNvPicPr>
            <a:picLocks noChangeAspect="1"/>
          </p:cNvPicPr>
          <p:nvPr userDrawn="1"/>
        </p:nvPicPr>
        <p:blipFill>
          <a:blip r:embed="rId2"/>
          <a:srcRect/>
          <a:stretch/>
        </p:blipFill>
        <p:spPr>
          <a:xfrm>
            <a:off x="245221" y="221305"/>
            <a:ext cx="1493771" cy="769644"/>
          </a:xfrm>
          <a:prstGeom prst="rect">
            <a:avLst/>
          </a:prstGeom>
        </p:spPr>
      </p:pic>
      <p:pic>
        <p:nvPicPr>
          <p:cNvPr id="10" name="Picture 9">
            <a:extLst>
              <a:ext uri="{FF2B5EF4-FFF2-40B4-BE49-F238E27FC236}">
                <a16:creationId xmlns:a16="http://schemas.microsoft.com/office/drawing/2014/main" id="{AECC87F0-E88C-754F-87EB-E17B901550EB}"/>
              </a:ext>
            </a:extLst>
          </p:cNvPr>
          <p:cNvPicPr>
            <a:picLocks noChangeAspect="1"/>
          </p:cNvPicPr>
          <p:nvPr userDrawn="1"/>
        </p:nvPicPr>
        <p:blipFill rotWithShape="1">
          <a:blip r:embed="rId3"/>
          <a:srcRect l="5104" t="18926" r="5724" b="17001"/>
          <a:stretch/>
        </p:blipFill>
        <p:spPr>
          <a:xfrm>
            <a:off x="7014162" y="455377"/>
            <a:ext cx="1645920" cy="319424"/>
          </a:xfrm>
          <a:prstGeom prst="rect">
            <a:avLst/>
          </a:prstGeom>
        </p:spPr>
      </p:pic>
    </p:spTree>
    <p:extLst>
      <p:ext uri="{BB962C8B-B14F-4D97-AF65-F5344CB8AC3E}">
        <p14:creationId xmlns:p14="http://schemas.microsoft.com/office/powerpoint/2010/main" val="10714360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8586663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7"/>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50"/>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3"/>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2"/>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userDrawn="1">
            <p:ph type="ctrTitle" hasCustomPrompt="1"/>
          </p:nvPr>
        </p:nvSpPr>
        <p:spPr>
          <a:xfrm>
            <a:off x="425766" y="1653703"/>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4"/>
            <a:ext cx="3561494" cy="4070648"/>
          </a:xfrm>
          <a:prstGeom prst="rect">
            <a:avLst/>
          </a:prstGeom>
        </p:spPr>
      </p:pic>
      <p:pic>
        <p:nvPicPr>
          <p:cNvPr id="9" name="Picture 8">
            <a:extLst>
              <a:ext uri="{FF2B5EF4-FFF2-40B4-BE49-F238E27FC236}">
                <a16:creationId xmlns:a16="http://schemas.microsoft.com/office/drawing/2014/main" id="{AC28A369-2929-8A40-9230-CDAC9D54AC20}"/>
              </a:ext>
            </a:extLst>
          </p:cNvPr>
          <p:cNvPicPr>
            <a:picLocks noChangeAspect="1"/>
          </p:cNvPicPr>
          <p:nvPr userDrawn="1"/>
        </p:nvPicPr>
        <p:blipFill>
          <a:blip r:embed="rId3"/>
          <a:srcRect/>
          <a:stretch/>
        </p:blipFill>
        <p:spPr>
          <a:xfrm>
            <a:off x="245221" y="221305"/>
            <a:ext cx="1493771" cy="769644"/>
          </a:xfrm>
          <a:prstGeom prst="rect">
            <a:avLst/>
          </a:prstGeom>
        </p:spPr>
      </p:pic>
      <p:pic>
        <p:nvPicPr>
          <p:cNvPr id="10" name="Picture 9">
            <a:extLst>
              <a:ext uri="{FF2B5EF4-FFF2-40B4-BE49-F238E27FC236}">
                <a16:creationId xmlns:a16="http://schemas.microsoft.com/office/drawing/2014/main" id="{D57DDBBB-C48F-744F-B299-18CD2CF3F226}"/>
              </a:ext>
            </a:extLst>
          </p:cNvPr>
          <p:cNvPicPr>
            <a:picLocks noChangeAspect="1"/>
          </p:cNvPicPr>
          <p:nvPr userDrawn="1"/>
        </p:nvPicPr>
        <p:blipFill rotWithShape="1">
          <a:blip r:embed="rId4"/>
          <a:srcRect l="5104" t="18926" r="5724" b="17001"/>
          <a:stretch/>
        </p:blipFill>
        <p:spPr>
          <a:xfrm>
            <a:off x="7014162" y="455377"/>
            <a:ext cx="1645920" cy="319424"/>
          </a:xfrm>
          <a:prstGeom prst="rect">
            <a:avLst/>
          </a:prstGeom>
        </p:spPr>
      </p:pic>
    </p:spTree>
    <p:extLst>
      <p:ext uri="{BB962C8B-B14F-4D97-AF65-F5344CB8AC3E}">
        <p14:creationId xmlns:p14="http://schemas.microsoft.com/office/powerpoint/2010/main" val="14031519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6"/>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1">
              <a:alpha val="50000"/>
            </a:schemeClr>
          </a:solidFill>
          <a:ln w="20071" cap="flat">
            <a:noFill/>
            <a:prstDash val="solid"/>
            <a:miter/>
          </a:ln>
        </p:spPr>
        <p:txBody>
          <a:bodyPr rtlCol="0" anchor="ctr"/>
          <a:lstStyle/>
          <a:p>
            <a:endParaRPr lang="en-US" sz="1800" dirty="0"/>
          </a:p>
        </p:txBody>
      </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7"/>
            <a:ext cx="1128042" cy="207621"/>
            <a:chOff x="4467257" y="275609"/>
            <a:chExt cx="1102102" cy="202847"/>
          </a:xfrm>
          <a:solidFill>
            <a:schemeClr val="accent1"/>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sz="1800"/>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sz="1800"/>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sz="1800"/>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sz="1800"/>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5" y="531813"/>
            <a:ext cx="4204117" cy="3983038"/>
          </a:xfrm>
          <a:prstGeom prst="rect">
            <a:avLst/>
          </a:prstGeom>
        </p:spPr>
        <p:txBody>
          <a:bodyPr anchor="ctr">
            <a:noAutofit/>
          </a:bodyPr>
          <a:lstStyle>
            <a:lvl1pPr marL="274313" indent="-274313">
              <a:spcBef>
                <a:spcPts val="2400"/>
              </a:spcBef>
              <a:buClr>
                <a:schemeClr val="accent1"/>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dirty="0"/>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9" y="1328616"/>
            <a:ext cx="3180553" cy="1105079"/>
          </a:xfrm>
          <a:prstGeom prst="rect">
            <a:avLst/>
          </a:prstGeom>
        </p:spPr>
        <p:txBody>
          <a:bodyPr wrap="square" anchor="ctr">
            <a:normAutofit/>
          </a:bodyPr>
          <a:lstStyle/>
          <a:p>
            <a:pPr algn="l" defTabSz="684196" rtl="0" eaLnBrk="1" fontAlgn="base" hangingPunct="1">
              <a:lnSpc>
                <a:spcPct val="85000"/>
              </a:lnSpc>
              <a:spcBef>
                <a:spcPct val="0"/>
              </a:spcBef>
              <a:spcAft>
                <a:spcPct val="0"/>
              </a:spcAft>
            </a:pPr>
            <a:r>
              <a:rPr lang="en-US" sz="2800" b="0" i="0" u="none" kern="1200" baseline="0" dirty="0">
                <a:solidFill>
                  <a:schemeClr val="bg1"/>
                </a:solidFill>
                <a:latin typeface="+mj-lt"/>
                <a:cs typeface="CiscoSansTT Thin" charset="0"/>
              </a:rPr>
              <a:t>Agenda</a:t>
            </a:r>
          </a:p>
        </p:txBody>
      </p:sp>
      <p:grpSp>
        <p:nvGrpSpPr>
          <p:cNvPr id="19" name="Group 18">
            <a:extLst>
              <a:ext uri="{FF2B5EF4-FFF2-40B4-BE49-F238E27FC236}">
                <a16:creationId xmlns:a16="http://schemas.microsoft.com/office/drawing/2014/main" id="{DFB5A850-2000-6347-B552-434CEC9692A2}"/>
              </a:ext>
            </a:extLst>
          </p:cNvPr>
          <p:cNvGrpSpPr/>
          <p:nvPr userDrawn="1"/>
        </p:nvGrpSpPr>
        <p:grpSpPr>
          <a:xfrm>
            <a:off x="282293" y="2563082"/>
            <a:ext cx="3178762" cy="580089"/>
            <a:chOff x="5098310" y="621568"/>
            <a:chExt cx="1477115" cy="269557"/>
          </a:xfrm>
          <a:gradFill>
            <a:gsLst>
              <a:gs pos="49000">
                <a:schemeClr val="bg1">
                  <a:alpha val="6000"/>
                </a:schemeClr>
              </a:gs>
              <a:gs pos="87000">
                <a:schemeClr val="bg2">
                  <a:alpha val="40000"/>
                </a:schemeClr>
              </a:gs>
              <a:gs pos="5000">
                <a:schemeClr val="bg2">
                  <a:alpha val="0"/>
                </a:schemeClr>
              </a:gs>
            </a:gsLst>
            <a:lin ang="600000" scaled="0"/>
          </a:gradFill>
        </p:grpSpPr>
        <p:sp>
          <p:nvSpPr>
            <p:cNvPr id="20" name="Freeform 19">
              <a:extLst>
                <a:ext uri="{FF2B5EF4-FFF2-40B4-BE49-F238E27FC236}">
                  <a16:creationId xmlns:a16="http://schemas.microsoft.com/office/drawing/2014/main" id="{8F7E193E-DD3F-0B4D-85B4-D06701A47F96}"/>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sz="1800"/>
            </a:p>
          </p:txBody>
        </p:sp>
        <p:sp>
          <p:nvSpPr>
            <p:cNvPr id="21" name="Freeform 20">
              <a:extLst>
                <a:ext uri="{FF2B5EF4-FFF2-40B4-BE49-F238E27FC236}">
                  <a16:creationId xmlns:a16="http://schemas.microsoft.com/office/drawing/2014/main" id="{0DE494EF-B7D1-9648-95B6-D6CD4DC52346}"/>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sz="1800"/>
            </a:p>
          </p:txBody>
        </p:sp>
        <p:sp>
          <p:nvSpPr>
            <p:cNvPr id="22" name="Freeform 21">
              <a:extLst>
                <a:ext uri="{FF2B5EF4-FFF2-40B4-BE49-F238E27FC236}">
                  <a16:creationId xmlns:a16="http://schemas.microsoft.com/office/drawing/2014/main" id="{71DC1917-FAEA-B240-A2BC-453B855C83E7}"/>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sz="1800"/>
            </a:p>
          </p:txBody>
        </p:sp>
        <p:sp>
          <p:nvSpPr>
            <p:cNvPr id="23" name="Freeform 22">
              <a:extLst>
                <a:ext uri="{FF2B5EF4-FFF2-40B4-BE49-F238E27FC236}">
                  <a16:creationId xmlns:a16="http://schemas.microsoft.com/office/drawing/2014/main" id="{D81D5C68-3593-A04E-B935-D017F1656B8F}"/>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sz="1800"/>
            </a:p>
          </p:txBody>
        </p:sp>
        <p:sp>
          <p:nvSpPr>
            <p:cNvPr id="24" name="Freeform 23">
              <a:extLst>
                <a:ext uri="{FF2B5EF4-FFF2-40B4-BE49-F238E27FC236}">
                  <a16:creationId xmlns:a16="http://schemas.microsoft.com/office/drawing/2014/main" id="{2CFC8861-7A27-9741-A819-6F9B9CE7F091}"/>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523265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13984882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398944447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userDrawn="1">
  <p:cSld name="Segue – Midnight">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168590197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5" y="341313"/>
            <a:ext cx="4204117" cy="3931920"/>
          </a:xfrm>
          <a:prstGeom prst="rect">
            <a:avLst/>
          </a:prstGeom>
        </p:spPr>
        <p:txBody>
          <a:bodyPr anchor="ctr">
            <a:noAutofit/>
          </a:bodyPr>
          <a:lstStyle>
            <a:lvl1pPr marL="274313" indent="-274313">
              <a:spcBef>
                <a:spcPts val="2400"/>
              </a:spcBef>
              <a:buClr>
                <a:schemeClr val="accent2"/>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wrap="square" rtlCol="0" anchor="ctr">
            <a:noAutofit/>
          </a:bodyPr>
          <a:lstStyle/>
          <a:p>
            <a:endParaRPr lang="en-US" sz="1800"/>
          </a:p>
        </p:txBody>
      </p:sp>
    </p:spTree>
    <p:extLst>
      <p:ext uri="{BB962C8B-B14F-4D97-AF65-F5344CB8AC3E}">
        <p14:creationId xmlns:p14="http://schemas.microsoft.com/office/powerpoint/2010/main" val="35012496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accent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5" y="341313"/>
            <a:ext cx="4204117" cy="3931920"/>
          </a:xfrm>
          <a:prstGeom prst="rect">
            <a:avLst/>
          </a:prstGeom>
        </p:spPr>
        <p:txBody>
          <a:bodyPr anchor="ctr">
            <a:noAutofit/>
          </a:bodyPr>
          <a:lstStyle>
            <a:lvl1pPr marL="274313" indent="-274313">
              <a:spcBef>
                <a:spcPts val="2400"/>
              </a:spcBef>
              <a:buClr>
                <a:schemeClr val="tx1"/>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sz="1800"/>
          </a:p>
        </p:txBody>
      </p:sp>
    </p:spTree>
    <p:extLst>
      <p:ext uri="{BB962C8B-B14F-4D97-AF65-F5344CB8AC3E}">
        <p14:creationId xmlns:p14="http://schemas.microsoft.com/office/powerpoint/2010/main" val="32306350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86BE431-24C5-E54F-A4C8-A1F6009F30BD}"/>
              </a:ext>
            </a:extLst>
          </p:cNvPr>
          <p:cNvSpPr txBox="1">
            <a:spLocks noGrp="1"/>
          </p:cNvSpPr>
          <p:nvPr>
            <p:ph type="title" hasCustomPrompt="1"/>
          </p:nvPr>
        </p:nvSpPr>
        <p:spPr>
          <a:xfrm>
            <a:off x="438722" y="1923292"/>
            <a:ext cx="2560320" cy="731839"/>
          </a:xfrm>
          <a:prstGeom prst="rect">
            <a:avLst/>
          </a:prstGeom>
        </p:spPr>
        <p:txBody>
          <a:bodyPr anchor="b">
            <a:noAutofit/>
          </a:bodyPr>
          <a:lstStyle>
            <a:lvl1pPr>
              <a:lnSpc>
                <a:spcPct val="80000"/>
              </a:lnSpc>
              <a:defRPr sz="4000" baseline="0">
                <a:solidFill>
                  <a:schemeClr val="accent1"/>
                </a:solidFill>
              </a:defRPr>
            </a:lvl1pPr>
          </a:lstStyle>
          <a:p>
            <a:r>
              <a:rPr lang="en-US" dirty="0"/>
              <a:t>##</a:t>
            </a:r>
            <a:endParaRPr dirty="0"/>
          </a:p>
        </p:txBody>
      </p:sp>
      <p:sp>
        <p:nvSpPr>
          <p:cNvPr id="18" name="Text Placeholder 12">
            <a:extLst>
              <a:ext uri="{FF2B5EF4-FFF2-40B4-BE49-F238E27FC236}">
                <a16:creationId xmlns:a16="http://schemas.microsoft.com/office/drawing/2014/main" id="{9FE0A934-72D8-3949-B463-B67D8D143AE8}"/>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accent1"/>
                </a:solidFill>
              </a:defRPr>
            </a:lvl1pPr>
          </a:lstStyle>
          <a:p>
            <a:pPr lvl="0"/>
            <a:r>
              <a:rPr lang="en-US"/>
              <a:t>##</a:t>
            </a:r>
          </a:p>
        </p:txBody>
      </p:sp>
      <p:sp>
        <p:nvSpPr>
          <p:cNvPr id="19" name="Text Placeholder 2">
            <a:extLst>
              <a:ext uri="{FF2B5EF4-FFF2-40B4-BE49-F238E27FC236}">
                <a16:creationId xmlns:a16="http://schemas.microsoft.com/office/drawing/2014/main" id="{5E9655FC-3F61-9F49-8308-EF0FB5AE227B}"/>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accent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20" name="Text Placeholder 14">
            <a:extLst>
              <a:ext uri="{FF2B5EF4-FFF2-40B4-BE49-F238E27FC236}">
                <a16:creationId xmlns:a16="http://schemas.microsoft.com/office/drawing/2014/main" id="{D1FE9F11-9B68-8542-8CD5-4A31007623A3}"/>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1" indent="-174621">
              <a:buClrTx/>
              <a:buSzPct val="100000"/>
              <a:tabLst>
                <a:tab pos="171446" algn="l"/>
              </a:tabLst>
              <a:defRPr lang="en-US" dirty="0">
                <a:solidFill>
                  <a:schemeClr val="tx1"/>
                </a:solidFill>
              </a:defRPr>
            </a:lvl2pPr>
            <a:lvl3pPr marL="347463" indent="-173732">
              <a:buClrTx/>
              <a:buSzPct val="80000"/>
              <a:tabLst/>
              <a:defRPr lang="en-US" dirty="0">
                <a:solidFill>
                  <a:schemeClr val="tx1"/>
                </a:solidFill>
              </a:defRPr>
            </a:lvl3pPr>
            <a:lvl4pPr marL="521195" indent="-173034">
              <a:buClrTx/>
              <a:buSzPct val="100000"/>
              <a:tabLst/>
              <a:defRPr lang="en-US" dirty="0">
                <a:solidFill>
                  <a:schemeClr val="tx1"/>
                </a:solidFill>
              </a:defRPr>
            </a:lvl4pPr>
            <a:lvl5pPr marL="744520" indent="-169859">
              <a:buClrTx/>
              <a:buSzPct val="100000"/>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1" name="Text Placeholder 14">
            <a:extLst>
              <a:ext uri="{FF2B5EF4-FFF2-40B4-BE49-F238E27FC236}">
                <a16:creationId xmlns:a16="http://schemas.microsoft.com/office/drawing/2014/main" id="{DA1D0FD9-814A-854E-B303-72F77DDDF739}"/>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1" indent="-174621">
              <a:buClrTx/>
              <a:tabLst>
                <a:tab pos="171446" algn="l"/>
              </a:tabLst>
              <a:defRPr lang="en-US" dirty="0">
                <a:solidFill>
                  <a:schemeClr val="tx1"/>
                </a:solidFill>
              </a:defRPr>
            </a:lvl2pPr>
            <a:lvl3pPr marL="347463" indent="-174621">
              <a:buClrTx/>
              <a:tabLst/>
              <a:defRPr lang="en-US" dirty="0">
                <a:solidFill>
                  <a:schemeClr val="tx1"/>
                </a:solidFill>
              </a:defRPr>
            </a:lvl3pPr>
            <a:lvl4pPr marL="521195" indent="-173034">
              <a:buClrTx/>
              <a:tabLst/>
              <a:defRPr lang="en-US" dirty="0">
                <a:solidFill>
                  <a:schemeClr val="tx1"/>
                </a:solidFill>
              </a:defRPr>
            </a:lvl4pPr>
            <a:lvl5pPr marL="744520" indent="-169859">
              <a:buClrTx/>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2" name="Text Placeholder 14">
            <a:extLst>
              <a:ext uri="{FF2B5EF4-FFF2-40B4-BE49-F238E27FC236}">
                <a16:creationId xmlns:a16="http://schemas.microsoft.com/office/drawing/2014/main" id="{87E4A93B-F98D-9148-A567-7F60A945CB4C}"/>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accent1"/>
                </a:solidFill>
              </a:defRPr>
            </a:lvl1pPr>
            <a:lvl2pPr marL="174621" indent="-174621">
              <a:buClrTx/>
              <a:tabLst>
                <a:tab pos="171446" algn="l"/>
              </a:tabLst>
              <a:defRPr lang="en-US" dirty="0">
                <a:solidFill>
                  <a:schemeClr val="tx1"/>
                </a:solidFill>
              </a:defRPr>
            </a:lvl2pPr>
            <a:lvl3pPr marL="344480" indent="-173732">
              <a:buClrTx/>
              <a:tabLst/>
              <a:defRPr lang="en-US" dirty="0">
                <a:solidFill>
                  <a:schemeClr val="tx1"/>
                </a:solidFill>
              </a:defRPr>
            </a:lvl3pPr>
            <a:lvl4pPr marL="521195" indent="-171446">
              <a:buClrTx/>
              <a:tabLst/>
              <a:defRPr lang="en-US" dirty="0">
                <a:solidFill>
                  <a:schemeClr val="tx1"/>
                </a:solidFill>
              </a:defRPr>
            </a:lvl4pPr>
            <a:lvl5pPr marL="694927" indent="-173034">
              <a:buClrTx/>
              <a:tabLst>
                <a:tab pos="681021" algn="l"/>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Tree>
    <p:extLst>
      <p:ext uri="{BB962C8B-B14F-4D97-AF65-F5344CB8AC3E}">
        <p14:creationId xmlns:p14="http://schemas.microsoft.com/office/powerpoint/2010/main" val="78876045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accent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438722" y="1923292"/>
            <a:ext cx="2560320" cy="731839"/>
          </a:xfrm>
          <a:prstGeom prst="rect">
            <a:avLst/>
          </a:prstGeom>
        </p:spPr>
        <p:txBody>
          <a:bodyPr anchor="b">
            <a:no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8" name="Text Placeholder 14">
            <a:extLst>
              <a:ext uri="{FF2B5EF4-FFF2-40B4-BE49-F238E27FC236}">
                <a16:creationId xmlns:a16="http://schemas.microsoft.com/office/drawing/2014/main" id="{BF524472-0C76-3244-B104-518268EC6AAC}"/>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1" indent="-174621">
              <a:buClrTx/>
              <a:buSzPct val="100000"/>
              <a:tabLst>
                <a:tab pos="171446" algn="l"/>
              </a:tabLst>
              <a:defRPr lang="en-US" dirty="0">
                <a:solidFill>
                  <a:schemeClr val="tx1"/>
                </a:solidFill>
              </a:defRPr>
            </a:lvl2pPr>
            <a:lvl3pPr marL="347463" indent="-173732">
              <a:buClrTx/>
              <a:buSzPct val="80000"/>
              <a:tabLst/>
              <a:defRPr lang="en-US" dirty="0">
                <a:solidFill>
                  <a:schemeClr val="tx1"/>
                </a:solidFill>
              </a:defRPr>
            </a:lvl3pPr>
            <a:lvl4pPr marL="521195" indent="-173034">
              <a:buClrTx/>
              <a:buSzPct val="100000"/>
              <a:tabLst/>
              <a:defRPr lang="en-US" dirty="0">
                <a:solidFill>
                  <a:schemeClr val="tx1"/>
                </a:solidFill>
              </a:defRPr>
            </a:lvl4pPr>
            <a:lvl5pPr marL="744520" indent="-169859">
              <a:buClrTx/>
              <a:buSzPct val="100000"/>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9" name="Text Placeholder 14">
            <a:extLst>
              <a:ext uri="{FF2B5EF4-FFF2-40B4-BE49-F238E27FC236}">
                <a16:creationId xmlns:a16="http://schemas.microsoft.com/office/drawing/2014/main" id="{96946D87-E546-C540-BA0D-AC6D38EB25CF}"/>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1" indent="-174621">
              <a:buClrTx/>
              <a:tabLst>
                <a:tab pos="171446" algn="l"/>
              </a:tabLst>
              <a:defRPr lang="en-US" dirty="0">
                <a:solidFill>
                  <a:schemeClr val="tx1"/>
                </a:solidFill>
              </a:defRPr>
            </a:lvl2pPr>
            <a:lvl3pPr marL="347463" indent="-174621">
              <a:buClrTx/>
              <a:tabLst/>
              <a:defRPr lang="en-US" dirty="0">
                <a:solidFill>
                  <a:schemeClr val="tx1"/>
                </a:solidFill>
              </a:defRPr>
            </a:lvl3pPr>
            <a:lvl4pPr marL="521195" indent="-173034">
              <a:buClrTx/>
              <a:tabLst/>
              <a:defRPr lang="en-US" dirty="0">
                <a:solidFill>
                  <a:schemeClr val="tx1"/>
                </a:solidFill>
              </a:defRPr>
            </a:lvl4pPr>
            <a:lvl5pPr marL="744520" indent="-169859">
              <a:buClrTx/>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4" name="Text Placeholder 14">
            <a:extLst>
              <a:ext uri="{FF2B5EF4-FFF2-40B4-BE49-F238E27FC236}">
                <a16:creationId xmlns:a16="http://schemas.microsoft.com/office/drawing/2014/main" id="{F580CAE0-CE55-554D-9765-2D4829851B1B}"/>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bg1"/>
                </a:solidFill>
              </a:defRPr>
            </a:lvl1pPr>
            <a:lvl2pPr marL="174621" indent="-174621">
              <a:buClrTx/>
              <a:tabLst>
                <a:tab pos="171446" algn="l"/>
              </a:tabLst>
              <a:defRPr lang="en-US" dirty="0">
                <a:solidFill>
                  <a:schemeClr val="tx1"/>
                </a:solidFill>
              </a:defRPr>
            </a:lvl2pPr>
            <a:lvl3pPr marL="344480" indent="-173732">
              <a:buClrTx/>
              <a:tabLst/>
              <a:defRPr lang="en-US" dirty="0">
                <a:solidFill>
                  <a:schemeClr val="tx1"/>
                </a:solidFill>
              </a:defRPr>
            </a:lvl3pPr>
            <a:lvl4pPr marL="521195" indent="-171446">
              <a:buClrTx/>
              <a:tabLst/>
              <a:defRPr lang="en-US" dirty="0">
                <a:solidFill>
                  <a:schemeClr val="tx1"/>
                </a:solidFill>
              </a:defRPr>
            </a:lvl4pPr>
            <a:lvl5pPr marL="694927" indent="-173034">
              <a:buClrTx/>
              <a:tabLst>
                <a:tab pos="681021" algn="l"/>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0" name="Rectangle 7">
            <a:extLst>
              <a:ext uri="{FF2B5EF4-FFF2-40B4-BE49-F238E27FC236}">
                <a16:creationId xmlns:a16="http://schemas.microsoft.com/office/drawing/2014/main" id="{EBF7D149-1621-9141-B9C3-C6BA64906AAD}"/>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sp>
        <p:nvSpPr>
          <p:cNvPr id="21" name="Rectangle 4">
            <a:extLst>
              <a:ext uri="{FF2B5EF4-FFF2-40B4-BE49-F238E27FC236}">
                <a16:creationId xmlns:a16="http://schemas.microsoft.com/office/drawing/2014/main" id="{D062C616-14A8-3347-B71B-037844E9B1CB}"/>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23" name="Picture 22">
            <a:extLst>
              <a:ext uri="{FF2B5EF4-FFF2-40B4-BE49-F238E27FC236}">
                <a16:creationId xmlns:a16="http://schemas.microsoft.com/office/drawing/2014/main" id="{8C174FB3-9259-CD4F-944D-50859FB3DBCF}"/>
              </a:ext>
            </a:extLst>
          </p:cNvPr>
          <p:cNvPicPr>
            <a:picLocks noChangeAspect="1"/>
          </p:cNvPicPr>
          <p:nvPr userDrawn="1"/>
        </p:nvPicPr>
        <p:blipFill>
          <a:blip r:embed="rId2"/>
          <a:stretch>
            <a:fillRect/>
          </a:stretch>
        </p:blipFill>
        <p:spPr>
          <a:xfrm>
            <a:off x="528763" y="4754881"/>
            <a:ext cx="921665" cy="155093"/>
          </a:xfrm>
          <a:prstGeom prst="rect">
            <a:avLst/>
          </a:prstGeom>
        </p:spPr>
      </p:pic>
    </p:spTree>
    <p:extLst>
      <p:ext uri="{BB962C8B-B14F-4D97-AF65-F5344CB8AC3E}">
        <p14:creationId xmlns:p14="http://schemas.microsoft.com/office/powerpoint/2010/main" val="178207588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60">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596" indent="-39995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70"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2">
                    <a:alpha val="50000"/>
                  </a:schemeClr>
                </a:solidFill>
                <a:latin typeface="+mn-lt"/>
                <a:ea typeface="+mn-ea"/>
                <a:cs typeface="CiscoSans Thin"/>
              </a:rPr>
              <a:t>© 2020 Cisco and/or its affiliates. All rights reserved. Cisco Confidential   </a:t>
            </a:r>
          </a:p>
        </p:txBody>
      </p:sp>
      <p:pic>
        <p:nvPicPr>
          <p:cNvPr id="26" name="Picture 25">
            <a:extLst>
              <a:ext uri="{FF2B5EF4-FFF2-40B4-BE49-F238E27FC236}">
                <a16:creationId xmlns:a16="http://schemas.microsoft.com/office/drawing/2014/main" id="{CC8D4C5C-86B8-CA45-8008-AF25AB9C4EF7}"/>
              </a:ext>
            </a:extLst>
          </p:cNvPr>
          <p:cNvPicPr>
            <a:picLocks noChangeAspect="1"/>
          </p:cNvPicPr>
          <p:nvPr userDrawn="1"/>
        </p:nvPicPr>
        <p:blipFill>
          <a:blip r:embed="rId3"/>
          <a:stretch>
            <a:fillRect/>
          </a:stretch>
        </p:blipFill>
        <p:spPr>
          <a:xfrm>
            <a:off x="528763" y="4754881"/>
            <a:ext cx="921665" cy="155093"/>
          </a:xfrm>
          <a:prstGeom prst="rect">
            <a:avLst/>
          </a:prstGeom>
        </p:spPr>
      </p:pic>
    </p:spTree>
    <p:extLst>
      <p:ext uri="{BB962C8B-B14F-4D97-AF65-F5344CB8AC3E}">
        <p14:creationId xmlns:p14="http://schemas.microsoft.com/office/powerpoint/2010/main" val="515071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27924017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70"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60">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596" indent="-39995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11493461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1"/>
            <a:ext cx="8348472" cy="3324225"/>
          </a:xfrm>
          <a:prstGeom prst="rect">
            <a:avLst/>
          </a:prstGeom>
        </p:spPr>
        <p:txBody>
          <a:bodyPr/>
          <a:lstStyle>
            <a:lvl1pPr>
              <a:defRPr/>
            </a:lvl1pPr>
            <a:lvl2pPr>
              <a:defRPr/>
            </a:lvl2pPr>
            <a:lvl3pPr>
              <a:defRPr/>
            </a:lvl3pPr>
          </a:lstStyle>
          <a:p>
            <a:pPr lvl="0"/>
            <a:r>
              <a:rPr lang="en-US"/>
              <a:t>First level (use “Indent More” or “Indent Less” to format sub-bullet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60748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1"/>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3"/>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sz="1800"/>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solidFill>
                <a:schemeClr val="tx2"/>
              </a:solidFill>
              <a:prstDash val="solid"/>
              <a:miter/>
            </a:ln>
          </p:spPr>
          <p:txBody>
            <a:bodyPr rtlCol="0" anchor="ctr"/>
            <a:lstStyle/>
            <a:p>
              <a:endParaRPr lang="en-US" sz="1800" dirty="0"/>
            </a:p>
          </p:txBody>
        </p:sp>
      </p:grpSp>
    </p:spTree>
    <p:extLst>
      <p:ext uri="{BB962C8B-B14F-4D97-AF65-F5344CB8AC3E}">
        <p14:creationId xmlns:p14="http://schemas.microsoft.com/office/powerpoint/2010/main" val="254036387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7" y="1204181"/>
            <a:ext cx="5776767"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B8334349-246B-8747-8834-B21ED22A0F6B}"/>
              </a:ext>
            </a:extLst>
          </p:cNvPr>
          <p:cNvGrpSpPr/>
          <p:nvPr userDrawn="1"/>
        </p:nvGrpSpPr>
        <p:grpSpPr>
          <a:xfrm>
            <a:off x="5994368" y="2003514"/>
            <a:ext cx="3149633" cy="3139986"/>
            <a:chOff x="5994367" y="2003514"/>
            <a:chExt cx="3149633" cy="3139986"/>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24" name="Graphic 15">
              <a:extLst>
                <a:ext uri="{FF2B5EF4-FFF2-40B4-BE49-F238E27FC236}">
                  <a16:creationId xmlns:a16="http://schemas.microsoft.com/office/drawing/2014/main" id="{61B2E654-3726-7541-8BF3-7A6A41A2515F}"/>
                </a:ext>
              </a:extLst>
            </p:cNvPr>
            <p:cNvSpPr>
              <a:spLocks noChangeAspect="1"/>
            </p:cNvSpPr>
            <p:nvPr userDrawn="1"/>
          </p:nvSpPr>
          <p:spPr>
            <a:xfrm>
              <a:off x="5994367" y="2282468"/>
              <a:ext cx="2549557" cy="2532420"/>
            </a:xfrm>
            <a:custGeom>
              <a:avLst/>
              <a:gdLst>
                <a:gd name="connsiteX0" fmla="*/ 1898713 w 1898712"/>
                <a:gd name="connsiteY0" fmla="*/ 1885950 h 1885950"/>
                <a:gd name="connsiteX1" fmla="*/ 1898713 w 1898712"/>
                <a:gd name="connsiteY1" fmla="*/ 0 h 1885950"/>
                <a:gd name="connsiteX2" fmla="*/ 0 w 1898712"/>
                <a:gd name="connsiteY2" fmla="*/ 1885950 h 1885950"/>
                <a:gd name="connsiteX3" fmla="*/ 1898713 w 1898712"/>
                <a:gd name="connsiteY3" fmla="*/ 1885950 h 1885950"/>
              </a:gdLst>
              <a:ahLst/>
              <a:cxnLst>
                <a:cxn ang="0">
                  <a:pos x="connsiteX0" y="connsiteY0"/>
                </a:cxn>
                <a:cxn ang="0">
                  <a:pos x="connsiteX1" y="connsiteY1"/>
                </a:cxn>
                <a:cxn ang="0">
                  <a:pos x="connsiteX2" y="connsiteY2"/>
                </a:cxn>
                <a:cxn ang="0">
                  <a:pos x="connsiteX3" y="connsiteY3"/>
                </a:cxn>
              </a:cxnLst>
              <a:rect l="l" t="t" r="r" b="b"/>
              <a:pathLst>
                <a:path w="1898712" h="1885950">
                  <a:moveTo>
                    <a:pt x="1898713" y="1885950"/>
                  </a:moveTo>
                  <a:lnTo>
                    <a:pt x="1898713" y="0"/>
                  </a:lnTo>
                  <a:lnTo>
                    <a:pt x="0" y="1885950"/>
                  </a:lnTo>
                  <a:lnTo>
                    <a:pt x="1898713" y="1885950"/>
                  </a:lnTo>
                  <a:close/>
                </a:path>
              </a:pathLst>
            </a:custGeom>
            <a:noFill/>
            <a:ln w="18956" cap="flat">
              <a:solidFill>
                <a:srgbClr val="6EBE4A"/>
              </a:solidFill>
              <a:prstDash val="solid"/>
              <a:round/>
            </a:ln>
          </p:spPr>
          <p:txBody>
            <a:bodyPr rtlCol="0" anchor="ctr"/>
            <a:lstStyle/>
            <a:p>
              <a:endParaRPr lang="en-US" sz="1800"/>
            </a:p>
          </p:txBody>
        </p:sp>
        <p:pic>
          <p:nvPicPr>
            <p:cNvPr id="25" name="Picture 24">
              <a:extLst>
                <a:ext uri="{FF2B5EF4-FFF2-40B4-BE49-F238E27FC236}">
                  <a16:creationId xmlns:a16="http://schemas.microsoft.com/office/drawing/2014/main" id="{8FF7D66D-FD86-A149-A8F5-117A6B95054D}"/>
                </a:ext>
              </a:extLst>
            </p:cNvPr>
            <p:cNvPicPr>
              <a:picLocks noChangeAspect="1"/>
            </p:cNvPicPr>
            <p:nvPr userDrawn="1"/>
          </p:nvPicPr>
          <p:blipFill rotWithShape="1">
            <a:blip r:embed="rId2" cstate="print">
              <a:alphaModFix amt="57000"/>
              <a:extLst>
                <a:ext uri="{28A0092B-C50C-407E-A947-70E740481C1C}">
                  <a14:useLocalDpi xmlns:a14="http://schemas.microsoft.com/office/drawing/2010/main"/>
                </a:ext>
              </a:extLst>
            </a:blip>
            <a:srcRect/>
            <a:stretch/>
          </p:blipFill>
          <p:spPr>
            <a:xfrm flipH="1">
              <a:off x="6295635" y="2576064"/>
              <a:ext cx="1878266" cy="1876597"/>
            </a:xfrm>
            <a:prstGeom prst="ellipse">
              <a:avLst/>
            </a:prstGeom>
            <a:ln>
              <a:noFill/>
            </a:ln>
            <a:effectLst>
              <a:softEdge rad="0"/>
            </a:effectLst>
          </p:spPr>
        </p:pic>
        <p:pic>
          <p:nvPicPr>
            <p:cNvPr id="26" name="Picture 25">
              <a:extLst>
                <a:ext uri="{FF2B5EF4-FFF2-40B4-BE49-F238E27FC236}">
                  <a16:creationId xmlns:a16="http://schemas.microsoft.com/office/drawing/2014/main" id="{6EFFB74B-6D0F-2B4F-9D09-C30F4CF0324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684101" y="2003514"/>
              <a:ext cx="2459899" cy="3139986"/>
            </a:xfrm>
            <a:prstGeom prst="rect">
              <a:avLst/>
            </a:prstGeom>
          </p:spPr>
        </p:pic>
      </p:grpSp>
    </p:spTree>
    <p:extLst>
      <p:ext uri="{BB962C8B-B14F-4D97-AF65-F5344CB8AC3E}">
        <p14:creationId xmlns:p14="http://schemas.microsoft.com/office/powerpoint/2010/main" val="372858510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1"/>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83807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1"/>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1"/>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70732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154844523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16361532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91589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7707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7494328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400255085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144000" cy="2843212"/>
          </a:xfrm>
          <a:prstGeom prst="rect">
            <a:avLst/>
          </a:prstGeom>
          <a:no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9"/>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15049386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13458629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6"/>
            <a:ext cx="8115300" cy="2834640"/>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192D2533-5FB4-AD42-B121-FD71B68AF10D}"/>
              </a:ext>
            </a:extLst>
          </p:cNvPr>
          <p:cNvSpPr>
            <a:spLocks noGrp="1"/>
          </p:cNvSpPr>
          <p:nvPr>
            <p:ph type="body" sz="quarter" idx="11" hasCustomPrompt="1"/>
          </p:nvPr>
        </p:nvSpPr>
        <p:spPr>
          <a:xfrm>
            <a:off x="437767" y="4038154"/>
            <a:ext cx="8210933" cy="326233"/>
          </a:xfrm>
          <a:prstGeom prst="rect">
            <a:avLst/>
          </a:prstGeom>
        </p:spPr>
        <p:txBody>
          <a:bodyPr wrap="square" lIns="91420" tIns="45710" rIns="91420" bIns="45710" anchor="t" anchorCtr="0">
            <a:noAutofit/>
          </a:bodyPr>
          <a:lstStyle>
            <a:lvl1pPr algn="l" defTabSz="603560">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265248827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194243"/>
            <a:ext cx="8115300" cy="2834640"/>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72E1AAE4-B921-5B4D-A9EB-F575EB38B943}"/>
              </a:ext>
            </a:extLst>
          </p:cNvPr>
          <p:cNvSpPr>
            <a:spLocks noGrp="1"/>
          </p:cNvSpPr>
          <p:nvPr>
            <p:ph type="body" sz="quarter" idx="11" hasCustomPrompt="1"/>
          </p:nvPr>
        </p:nvSpPr>
        <p:spPr>
          <a:xfrm>
            <a:off x="437767" y="4038155"/>
            <a:ext cx="8210933" cy="326233"/>
          </a:xfrm>
          <a:prstGeom prst="rect">
            <a:avLst/>
          </a:prstGeom>
        </p:spPr>
        <p:txBody>
          <a:bodyPr wrap="square" lIns="91420" tIns="45710" rIns="91420" bIns="45710" anchor="t" anchorCtr="0">
            <a:noAutofit/>
          </a:bodyPr>
          <a:lstStyle>
            <a:lvl1pPr algn="l" defTabSz="603560">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76651492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Half Page Bullet + Image">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6" name="Title Placeholder 5"/>
          <p:cNvSpPr>
            <a:spLocks noGrp="1"/>
          </p:cNvSpPr>
          <p:nvPr>
            <p:ph type="title" hasCustomPrompt="1"/>
          </p:nvPr>
        </p:nvSpPr>
        <p:spPr bwMode="auto">
          <a:xfrm>
            <a:off x="437767"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16" name="Text Placeholder 3">
            <a:extLst>
              <a:ext uri="{FF2B5EF4-FFF2-40B4-BE49-F238E27FC236}">
                <a16:creationId xmlns:a16="http://schemas.microsoft.com/office/drawing/2014/main" id="{35DFCE68-AC05-4B44-8313-C09DF7E1BF29}"/>
              </a:ext>
            </a:extLst>
          </p:cNvPr>
          <p:cNvSpPr>
            <a:spLocks noGrp="1"/>
          </p:cNvSpPr>
          <p:nvPr>
            <p:ph type="body" sz="quarter" idx="12" hasCustomPrompt="1"/>
          </p:nvPr>
        </p:nvSpPr>
        <p:spPr>
          <a:xfrm>
            <a:off x="437767" y="1665183"/>
            <a:ext cx="3662024" cy="2849668"/>
          </a:xfrm>
          <a:prstGeom prst="rect">
            <a:avLst/>
          </a:prstGeom>
        </p:spPr>
        <p:txBody>
          <a:bodyPr vert="horz" lIns="91440" tIns="45720" rIns="91440" bIns="45720" rtlCol="0" anchor="t">
            <a:noAutofit/>
          </a:bodyPr>
          <a:lstStyle>
            <a:lvl1pPr marL="228594" indent="-219451">
              <a:buClr>
                <a:schemeClr val="accent1"/>
              </a:buClr>
              <a:defRPr lang="en-GB" dirty="0">
                <a:solidFill>
                  <a:schemeClr val="bg2"/>
                </a:solidFill>
              </a:defRPr>
            </a:lvl1pPr>
            <a:lvl2pPr marL="448045" indent="-210307">
              <a:buClr>
                <a:schemeClr val="accent1"/>
              </a:buClr>
              <a:tabLst>
                <a:tab pos="171446" algn="l"/>
              </a:tabLst>
              <a:defRPr lang="en-GB" dirty="0">
                <a:solidFill>
                  <a:schemeClr val="bg2"/>
                </a:solidFill>
              </a:defRPr>
            </a:lvl2pPr>
            <a:lvl3pPr marL="621776" indent="-173732">
              <a:buClr>
                <a:schemeClr val="accent1"/>
              </a:buClr>
              <a:defRPr lang="en-GB" dirty="0">
                <a:solidFill>
                  <a:schemeClr val="bg2"/>
                </a:solidFill>
              </a:defRPr>
            </a:lvl3pPr>
            <a:lvl4pPr marL="804652" indent="-201163">
              <a:buClr>
                <a:schemeClr val="accent1"/>
              </a:buClr>
              <a:defRPr lang="en-GB" dirty="0">
                <a:solidFill>
                  <a:schemeClr val="bg2"/>
                </a:solidFill>
              </a:defRPr>
            </a:lvl4pPr>
            <a:lvl5pPr marL="969240" indent="-173732">
              <a:buClr>
                <a:schemeClr val="accent1"/>
              </a:buClr>
              <a:defRPr lang="en-US" dirty="0">
                <a:solidFill>
                  <a:schemeClr val="bg2"/>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28" name="Picture 27">
            <a:extLst>
              <a:ext uri="{FF2B5EF4-FFF2-40B4-BE49-F238E27FC236}">
                <a16:creationId xmlns:a16="http://schemas.microsoft.com/office/drawing/2014/main" id="{C44B64B2-2AAE-0544-97BB-CF8FAEF006E7}"/>
              </a:ext>
            </a:extLst>
          </p:cNvPr>
          <p:cNvPicPr>
            <a:picLocks noChangeAspect="1"/>
          </p:cNvPicPr>
          <p:nvPr userDrawn="1"/>
        </p:nvPicPr>
        <p:blipFill>
          <a:blip r:embed="rId2"/>
          <a:stretch>
            <a:fillRect/>
          </a:stretch>
        </p:blipFill>
        <p:spPr>
          <a:xfrm>
            <a:off x="528763" y="4754881"/>
            <a:ext cx="921665" cy="155093"/>
          </a:xfrm>
          <a:prstGeom prst="rect">
            <a:avLst/>
          </a:prstGeom>
        </p:spPr>
      </p:pic>
    </p:spTree>
    <p:extLst>
      <p:ext uri="{BB962C8B-B14F-4D97-AF65-F5344CB8AC3E}">
        <p14:creationId xmlns:p14="http://schemas.microsoft.com/office/powerpoint/2010/main" val="4106630277"/>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alf Page + Bulle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29235" y="1657350"/>
            <a:ext cx="3813048"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15" name="Text Placeholder 3">
            <a:extLst>
              <a:ext uri="{FF2B5EF4-FFF2-40B4-BE49-F238E27FC236}">
                <a16:creationId xmlns:a16="http://schemas.microsoft.com/office/drawing/2014/main" id="{55BECF40-332B-7245-9C28-01DE7BED6BA3}"/>
              </a:ext>
            </a:extLst>
          </p:cNvPr>
          <p:cNvSpPr>
            <a:spLocks noGrp="1"/>
          </p:cNvSpPr>
          <p:nvPr>
            <p:ph type="body" sz="quarter" idx="12" hasCustomPrompt="1"/>
          </p:nvPr>
        </p:nvSpPr>
        <p:spPr>
          <a:xfrm>
            <a:off x="4993516" y="416820"/>
            <a:ext cx="3749040" cy="4206240"/>
          </a:xfrm>
          <a:prstGeom prst="rect">
            <a:avLst/>
          </a:prstGeom>
        </p:spPr>
        <p:txBody>
          <a:bodyPr vert="horz" lIns="91440" tIns="45720" rIns="91440" bIns="45720" rtlCol="0" anchor="ctr">
            <a:noAutofit/>
          </a:bodyPr>
          <a:lstStyle>
            <a:lvl1pPr marL="228594" indent="-219451">
              <a:buClr>
                <a:schemeClr val="accent1"/>
              </a:buClr>
              <a:defRPr lang="en-GB" dirty="0">
                <a:solidFill>
                  <a:schemeClr val="tx1"/>
                </a:solidFill>
              </a:defRPr>
            </a:lvl1pPr>
            <a:lvl2pPr marL="448045" indent="-210307">
              <a:buClr>
                <a:schemeClr val="accent1"/>
              </a:buClr>
              <a:tabLst>
                <a:tab pos="171446" algn="l"/>
              </a:tabLst>
              <a:defRPr lang="en-GB" dirty="0">
                <a:solidFill>
                  <a:schemeClr val="tx1"/>
                </a:solidFill>
              </a:defRPr>
            </a:lvl2pPr>
            <a:lvl3pPr marL="621776" indent="-173732">
              <a:buClr>
                <a:schemeClr val="accent1"/>
              </a:buClr>
              <a:defRPr lang="en-GB" dirty="0">
                <a:solidFill>
                  <a:schemeClr val="tx1"/>
                </a:solidFill>
              </a:defRPr>
            </a:lvl3pPr>
            <a:lvl4pPr marL="804652" indent="-201163">
              <a:buClr>
                <a:schemeClr val="accent1"/>
              </a:buClr>
              <a:defRPr lang="en-GB" dirty="0">
                <a:solidFill>
                  <a:schemeClr val="tx1"/>
                </a:solidFill>
              </a:defRPr>
            </a:lvl4pPr>
            <a:lvl5pPr marL="969240" indent="-173732">
              <a:buClr>
                <a:schemeClr val="accent1"/>
              </a:buClr>
              <a:defRPr lang="en-US" dirty="0">
                <a:solidFill>
                  <a:schemeClr val="tx1"/>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16" name="Picture 15">
            <a:extLst>
              <a:ext uri="{FF2B5EF4-FFF2-40B4-BE49-F238E27FC236}">
                <a16:creationId xmlns:a16="http://schemas.microsoft.com/office/drawing/2014/main" id="{0ED88771-3A4B-FA4B-A6A2-73144B112015}"/>
              </a:ext>
            </a:extLst>
          </p:cNvPr>
          <p:cNvPicPr>
            <a:picLocks noChangeAspect="1"/>
          </p:cNvPicPr>
          <p:nvPr userDrawn="1"/>
        </p:nvPicPr>
        <p:blipFill>
          <a:blip r:embed="rId2"/>
          <a:stretch>
            <a:fillRect/>
          </a:stretch>
        </p:blipFill>
        <p:spPr>
          <a:xfrm>
            <a:off x="528763" y="4754881"/>
            <a:ext cx="921665" cy="155093"/>
          </a:xfrm>
          <a:prstGeom prst="rect">
            <a:avLst/>
          </a:prstGeom>
        </p:spPr>
      </p:pic>
    </p:spTree>
    <p:extLst>
      <p:ext uri="{BB962C8B-B14F-4D97-AF65-F5344CB8AC3E}">
        <p14:creationId xmlns:p14="http://schemas.microsoft.com/office/powerpoint/2010/main" val="21667678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74920" y="498360"/>
            <a:ext cx="3566160" cy="356616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78414" y="4377076"/>
            <a:ext cx="3559175" cy="457200"/>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6" name="Picture 15">
            <a:extLst>
              <a:ext uri="{FF2B5EF4-FFF2-40B4-BE49-F238E27FC236}">
                <a16:creationId xmlns:a16="http://schemas.microsoft.com/office/drawing/2014/main" id="{2B5AF067-E270-6340-8783-D8B22136B81F}"/>
              </a:ext>
            </a:extLst>
          </p:cNvPr>
          <p:cNvPicPr>
            <a:picLocks noChangeAspect="1"/>
          </p:cNvPicPr>
          <p:nvPr userDrawn="1"/>
        </p:nvPicPr>
        <p:blipFill>
          <a:blip r:embed="rId2"/>
          <a:stretch>
            <a:fillRect/>
          </a:stretch>
        </p:blipFill>
        <p:spPr>
          <a:xfrm>
            <a:off x="528763" y="4750593"/>
            <a:ext cx="921665" cy="155093"/>
          </a:xfrm>
          <a:prstGeom prst="rect">
            <a:avLst/>
          </a:prstGeom>
        </p:spPr>
      </p:pic>
    </p:spTree>
    <p:extLst>
      <p:ext uri="{BB962C8B-B14F-4D97-AF65-F5344CB8AC3E}">
        <p14:creationId xmlns:p14="http://schemas.microsoft.com/office/powerpoint/2010/main" val="395643853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4" name="Picture 13">
            <a:extLst>
              <a:ext uri="{FF2B5EF4-FFF2-40B4-BE49-F238E27FC236}">
                <a16:creationId xmlns:a16="http://schemas.microsoft.com/office/drawing/2014/main" id="{26F346CA-4563-484A-B1A2-44A580D07D7C}"/>
              </a:ext>
            </a:extLst>
          </p:cNvPr>
          <p:cNvPicPr>
            <a:picLocks noChangeAspect="1"/>
          </p:cNvPicPr>
          <p:nvPr userDrawn="1"/>
        </p:nvPicPr>
        <p:blipFill>
          <a:blip r:embed="rId2"/>
          <a:stretch>
            <a:fillRect/>
          </a:stretch>
        </p:blipFill>
        <p:spPr>
          <a:xfrm>
            <a:off x="528763" y="4750593"/>
            <a:ext cx="921665" cy="155093"/>
          </a:xfrm>
          <a:prstGeom prst="rect">
            <a:avLst/>
          </a:prstGeom>
        </p:spPr>
      </p:pic>
    </p:spTree>
    <p:extLst>
      <p:ext uri="{BB962C8B-B14F-4D97-AF65-F5344CB8AC3E}">
        <p14:creationId xmlns:p14="http://schemas.microsoft.com/office/powerpoint/2010/main" val="42368296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5" name="Picture 14">
            <a:extLst>
              <a:ext uri="{FF2B5EF4-FFF2-40B4-BE49-F238E27FC236}">
                <a16:creationId xmlns:a16="http://schemas.microsoft.com/office/drawing/2014/main" id="{4E71D0A8-1E05-8948-84F4-22AE9FE0FA5C}"/>
              </a:ext>
            </a:extLst>
          </p:cNvPr>
          <p:cNvPicPr>
            <a:picLocks noChangeAspect="1"/>
          </p:cNvPicPr>
          <p:nvPr userDrawn="1"/>
        </p:nvPicPr>
        <p:blipFill>
          <a:blip r:embed="rId2"/>
          <a:stretch>
            <a:fillRect/>
          </a:stretch>
        </p:blipFill>
        <p:spPr>
          <a:xfrm>
            <a:off x="528763" y="4750593"/>
            <a:ext cx="921665" cy="155093"/>
          </a:xfrm>
          <a:prstGeom prst="rect">
            <a:avLst/>
          </a:prstGeom>
        </p:spPr>
      </p:pic>
    </p:spTree>
    <p:extLst>
      <p:ext uri="{BB962C8B-B14F-4D97-AF65-F5344CB8AC3E}">
        <p14:creationId xmlns:p14="http://schemas.microsoft.com/office/powerpoint/2010/main" val="69111478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Half Page +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5" name="Picture 14">
            <a:extLst>
              <a:ext uri="{FF2B5EF4-FFF2-40B4-BE49-F238E27FC236}">
                <a16:creationId xmlns:a16="http://schemas.microsoft.com/office/drawing/2014/main" id="{274E1B27-FCF0-2441-B9C7-FFF2B79572FF}"/>
              </a:ext>
            </a:extLst>
          </p:cNvPr>
          <p:cNvPicPr>
            <a:picLocks noChangeAspect="1"/>
          </p:cNvPicPr>
          <p:nvPr userDrawn="1"/>
        </p:nvPicPr>
        <p:blipFill>
          <a:blip r:embed="rId2"/>
          <a:stretch>
            <a:fillRect/>
          </a:stretch>
        </p:blipFill>
        <p:spPr>
          <a:xfrm>
            <a:off x="528763" y="4750593"/>
            <a:ext cx="921665" cy="155093"/>
          </a:xfrm>
          <a:prstGeom prst="rect">
            <a:avLst/>
          </a:prstGeom>
        </p:spPr>
      </p:pic>
    </p:spTree>
    <p:extLst>
      <p:ext uri="{BB962C8B-B14F-4D97-AF65-F5344CB8AC3E}">
        <p14:creationId xmlns:p14="http://schemas.microsoft.com/office/powerpoint/2010/main" val="305508026"/>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41395338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alf Page + Table">
    <p:spTree>
      <p:nvGrpSpPr>
        <p:cNvPr id="1" name=""/>
        <p:cNvGrpSpPr/>
        <p:nvPr/>
      </p:nvGrpSpPr>
      <p:grpSpPr>
        <a:xfrm>
          <a:off x="0" y="0"/>
          <a:ext cx="0" cy="0"/>
          <a:chOff x="0" y="0"/>
          <a:chExt cx="0" cy="0"/>
        </a:xfrm>
      </p:grpSpPr>
      <p:sp>
        <p:nvSpPr>
          <p:cNvPr id="4" name="Rectangle 3"/>
          <p:cNvSpPr/>
          <p:nvPr userDrawn="1"/>
        </p:nvSpPr>
        <p:spPr>
          <a:xfrm>
            <a:off x="-8092"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endParaRPr lang="en-US" dirty="0"/>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6" name="Picture 15">
            <a:extLst>
              <a:ext uri="{FF2B5EF4-FFF2-40B4-BE49-F238E27FC236}">
                <a16:creationId xmlns:a16="http://schemas.microsoft.com/office/drawing/2014/main" id="{EF6F5EFF-AEF1-F748-9770-793417251AA8}"/>
              </a:ext>
            </a:extLst>
          </p:cNvPr>
          <p:cNvPicPr>
            <a:picLocks noChangeAspect="1"/>
          </p:cNvPicPr>
          <p:nvPr userDrawn="1"/>
        </p:nvPicPr>
        <p:blipFill>
          <a:blip r:embed="rId2"/>
          <a:stretch>
            <a:fillRect/>
          </a:stretch>
        </p:blipFill>
        <p:spPr>
          <a:xfrm>
            <a:off x="528763" y="4750593"/>
            <a:ext cx="921665" cy="155093"/>
          </a:xfrm>
          <a:prstGeom prst="rect">
            <a:avLst/>
          </a:prstGeom>
        </p:spPr>
      </p:pic>
    </p:spTree>
    <p:extLst>
      <p:ext uri="{BB962C8B-B14F-4D97-AF65-F5344CB8AC3E}">
        <p14:creationId xmlns:p14="http://schemas.microsoft.com/office/powerpoint/2010/main" val="242619236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8E85C6-4576-1542-A88E-558C57D0604F}"/>
              </a:ext>
            </a:extLst>
          </p:cNvPr>
          <p:cNvPicPr>
            <a:picLocks noChangeAspect="1"/>
          </p:cNvPicPr>
          <p:nvPr userDrawn="1"/>
        </p:nvPicPr>
        <p:blipFill>
          <a:blip r:embed="rId2"/>
          <a:stretch>
            <a:fillRect/>
          </a:stretch>
        </p:blipFill>
        <p:spPr>
          <a:xfrm>
            <a:off x="2502975" y="2222616"/>
            <a:ext cx="4149590" cy="698270"/>
          </a:xfrm>
          <a:prstGeom prst="rect">
            <a:avLst/>
          </a:prstGeom>
        </p:spPr>
      </p:pic>
    </p:spTree>
    <p:extLst>
      <p:ext uri="{BB962C8B-B14F-4D97-AF65-F5344CB8AC3E}">
        <p14:creationId xmlns:p14="http://schemas.microsoft.com/office/powerpoint/2010/main" val="385372460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232801-7386-0C44-9230-013FBE15608D}"/>
              </a:ext>
            </a:extLst>
          </p:cNvPr>
          <p:cNvPicPr>
            <a:picLocks noChangeAspect="1"/>
          </p:cNvPicPr>
          <p:nvPr userDrawn="1"/>
        </p:nvPicPr>
        <p:blipFill>
          <a:blip r:embed="rId2"/>
          <a:stretch>
            <a:fillRect/>
          </a:stretch>
        </p:blipFill>
        <p:spPr>
          <a:xfrm>
            <a:off x="2502975" y="2222616"/>
            <a:ext cx="4149590" cy="698270"/>
          </a:xfrm>
          <a:prstGeom prst="rect">
            <a:avLst/>
          </a:prstGeom>
        </p:spPr>
      </p:pic>
    </p:spTree>
    <p:extLst>
      <p:ext uri="{BB962C8B-B14F-4D97-AF65-F5344CB8AC3E}">
        <p14:creationId xmlns:p14="http://schemas.microsoft.com/office/powerpoint/2010/main" val="331252170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losing – White">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6D49DD-7341-6C49-988B-89AC853B386E}"/>
              </a:ext>
            </a:extLst>
          </p:cNvPr>
          <p:cNvPicPr>
            <a:picLocks noChangeAspect="1"/>
          </p:cNvPicPr>
          <p:nvPr userDrawn="1"/>
        </p:nvPicPr>
        <p:blipFill>
          <a:blip r:embed="rId2"/>
          <a:stretch>
            <a:fillRect/>
          </a:stretch>
        </p:blipFill>
        <p:spPr>
          <a:xfrm>
            <a:off x="2502975" y="2222616"/>
            <a:ext cx="4149590" cy="698270"/>
          </a:xfrm>
          <a:prstGeom prst="rect">
            <a:avLst/>
          </a:prstGeom>
        </p:spPr>
      </p:pic>
    </p:spTree>
    <p:extLst>
      <p:ext uri="{BB962C8B-B14F-4D97-AF65-F5344CB8AC3E}">
        <p14:creationId xmlns:p14="http://schemas.microsoft.com/office/powerpoint/2010/main" val="366154420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nchor="t"/>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9" name="Picture 8" descr="A picture containing drawing&#10;&#10;Description automatically generated">
            <a:extLst>
              <a:ext uri="{FF2B5EF4-FFF2-40B4-BE49-F238E27FC236}">
                <a16:creationId xmlns:a16="http://schemas.microsoft.com/office/drawing/2014/main" id="{DFF5A03F-62C1-0740-BE1A-3C1C0CAFBFA9}"/>
              </a:ext>
            </a:extLst>
          </p:cNvPr>
          <p:cNvPicPr>
            <a:picLocks noChangeAspect="1"/>
          </p:cNvPicPr>
          <p:nvPr userDrawn="1"/>
        </p:nvPicPr>
        <p:blipFill>
          <a:blip r:embed="rId2"/>
          <a:stretch>
            <a:fillRect/>
          </a:stretch>
        </p:blipFill>
        <p:spPr>
          <a:xfrm>
            <a:off x="7046208" y="487542"/>
            <a:ext cx="1593916" cy="246013"/>
          </a:xfrm>
          <a:prstGeom prst="rect">
            <a:avLst/>
          </a:prstGeom>
        </p:spPr>
      </p:pic>
      <p:pic>
        <p:nvPicPr>
          <p:cNvPr id="10" name="Picture 9" descr="A picture containing plate&#10;&#10;Description automatically generated">
            <a:extLst>
              <a:ext uri="{FF2B5EF4-FFF2-40B4-BE49-F238E27FC236}">
                <a16:creationId xmlns:a16="http://schemas.microsoft.com/office/drawing/2014/main" id="{E3D753F0-EFD9-0848-91C4-34142CE698A4}"/>
              </a:ext>
            </a:extLst>
          </p:cNvPr>
          <p:cNvPicPr>
            <a:picLocks noChangeAspect="1"/>
          </p:cNvPicPr>
          <p:nvPr userDrawn="1"/>
        </p:nvPicPr>
        <p:blipFill>
          <a:blip r:embed="rId3"/>
          <a:stretch>
            <a:fillRect/>
          </a:stretch>
        </p:blipFill>
        <p:spPr>
          <a:xfrm>
            <a:off x="245220" y="221305"/>
            <a:ext cx="1493772" cy="769644"/>
          </a:xfrm>
          <a:prstGeom prst="rect">
            <a:avLst/>
          </a:prstGeom>
        </p:spPr>
      </p:pic>
    </p:spTree>
    <p:extLst>
      <p:ext uri="{BB962C8B-B14F-4D97-AF65-F5344CB8AC3E}">
        <p14:creationId xmlns:p14="http://schemas.microsoft.com/office/powerpoint/2010/main" val="227912054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14" name="Picture 13" descr="A picture containing drawing&#10;&#10;Description automatically generated">
            <a:extLst>
              <a:ext uri="{FF2B5EF4-FFF2-40B4-BE49-F238E27FC236}">
                <a16:creationId xmlns:a16="http://schemas.microsoft.com/office/drawing/2014/main" id="{E50E4963-CF0C-B441-AC49-182636025485}"/>
              </a:ext>
            </a:extLst>
          </p:cNvPr>
          <p:cNvPicPr>
            <a:picLocks noChangeAspect="1"/>
          </p:cNvPicPr>
          <p:nvPr userDrawn="1"/>
        </p:nvPicPr>
        <p:blipFill>
          <a:blip r:embed="rId2"/>
          <a:stretch>
            <a:fillRect/>
          </a:stretch>
        </p:blipFill>
        <p:spPr>
          <a:xfrm>
            <a:off x="7046208" y="487542"/>
            <a:ext cx="1593916" cy="246013"/>
          </a:xfrm>
          <a:prstGeom prst="rect">
            <a:avLst/>
          </a:prstGeom>
        </p:spPr>
      </p:pic>
      <p:sp>
        <p:nvSpPr>
          <p:cNvPr id="10" name="Freeform 9">
            <a:extLst>
              <a:ext uri="{FF2B5EF4-FFF2-40B4-BE49-F238E27FC236}">
                <a16:creationId xmlns:a16="http://schemas.microsoft.com/office/drawing/2014/main" id="{D390E896-2761-D44B-9AA3-5AD05EAD2C91}"/>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a:p>
        </p:txBody>
      </p:sp>
      <p:pic>
        <p:nvPicPr>
          <p:cNvPr id="11" name="Picture 10" descr="A picture containing plate&#10;&#10;Description automatically generated">
            <a:extLst>
              <a:ext uri="{FF2B5EF4-FFF2-40B4-BE49-F238E27FC236}">
                <a16:creationId xmlns:a16="http://schemas.microsoft.com/office/drawing/2014/main" id="{8DF15E44-2C3F-E249-B5E7-261A37B80A8D}"/>
              </a:ext>
            </a:extLst>
          </p:cNvPr>
          <p:cNvPicPr>
            <a:picLocks noChangeAspect="1"/>
          </p:cNvPicPr>
          <p:nvPr userDrawn="1"/>
        </p:nvPicPr>
        <p:blipFill>
          <a:blip r:embed="rId3"/>
          <a:stretch>
            <a:fillRect/>
          </a:stretch>
        </p:blipFill>
        <p:spPr>
          <a:xfrm>
            <a:off x="245220" y="221305"/>
            <a:ext cx="1493772" cy="769644"/>
          </a:xfrm>
          <a:prstGeom prst="rect">
            <a:avLst/>
          </a:prstGeom>
        </p:spPr>
      </p:pic>
    </p:spTree>
    <p:extLst>
      <p:ext uri="{BB962C8B-B14F-4D97-AF65-F5344CB8AC3E}">
        <p14:creationId xmlns:p14="http://schemas.microsoft.com/office/powerpoint/2010/main" val="145693695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D1C30AEE-2CCC-1C4F-AAC7-4D22CB713D64}"/>
              </a:ext>
            </a:extLst>
          </p:cNvPr>
          <p:cNvPicPr>
            <a:picLocks noChangeAspect="1"/>
          </p:cNvPicPr>
          <p:nvPr userDrawn="1"/>
        </p:nvPicPr>
        <p:blipFill>
          <a:blip r:embed="rId3"/>
          <a:stretch>
            <a:fillRect/>
          </a:stretch>
        </p:blipFill>
        <p:spPr>
          <a:xfrm>
            <a:off x="7046208" y="487542"/>
            <a:ext cx="1593916" cy="246013"/>
          </a:xfrm>
          <a:prstGeom prst="rect">
            <a:avLst/>
          </a:prstGeom>
        </p:spPr>
      </p:pic>
      <p:pic>
        <p:nvPicPr>
          <p:cNvPr id="10" name="Picture 9" descr="A picture containing plate&#10;&#10;Description automatically generated">
            <a:extLst>
              <a:ext uri="{FF2B5EF4-FFF2-40B4-BE49-F238E27FC236}">
                <a16:creationId xmlns:a16="http://schemas.microsoft.com/office/drawing/2014/main" id="{6D1EB3FF-7696-804E-86E4-97F958A34DD3}"/>
              </a:ext>
            </a:extLst>
          </p:cNvPr>
          <p:cNvPicPr>
            <a:picLocks noChangeAspect="1"/>
          </p:cNvPicPr>
          <p:nvPr userDrawn="1"/>
        </p:nvPicPr>
        <p:blipFill>
          <a:blip r:embed="rId4"/>
          <a:stretch>
            <a:fillRect/>
          </a:stretch>
        </p:blipFill>
        <p:spPr>
          <a:xfrm>
            <a:off x="245220" y="221305"/>
            <a:ext cx="1493772" cy="769644"/>
          </a:xfrm>
          <a:prstGeom prst="rect">
            <a:avLst/>
          </a:prstGeom>
        </p:spPr>
      </p:pic>
    </p:spTree>
    <p:extLst>
      <p:ext uri="{BB962C8B-B14F-4D97-AF65-F5344CB8AC3E}">
        <p14:creationId xmlns:p14="http://schemas.microsoft.com/office/powerpoint/2010/main" val="380195531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8" name="Picture 7">
            <a:extLst>
              <a:ext uri="{FF2B5EF4-FFF2-40B4-BE49-F238E27FC236}">
                <a16:creationId xmlns:a16="http://schemas.microsoft.com/office/drawing/2014/main" id="{E66D6FB3-9295-324F-89E7-D6A34001EF0E}"/>
              </a:ext>
            </a:extLst>
          </p:cNvPr>
          <p:cNvPicPr>
            <a:picLocks noChangeAspect="1"/>
          </p:cNvPicPr>
          <p:nvPr userDrawn="1"/>
        </p:nvPicPr>
        <p:blipFill>
          <a:blip r:embed="rId2"/>
          <a:srcRect/>
          <a:stretch/>
        </p:blipFill>
        <p:spPr>
          <a:xfrm>
            <a:off x="245220" y="221305"/>
            <a:ext cx="1493771" cy="769644"/>
          </a:xfrm>
          <a:prstGeom prst="rect">
            <a:avLst/>
          </a:prstGeom>
        </p:spPr>
      </p:pic>
      <p:pic>
        <p:nvPicPr>
          <p:cNvPr id="9" name="Picture 8">
            <a:extLst>
              <a:ext uri="{FF2B5EF4-FFF2-40B4-BE49-F238E27FC236}">
                <a16:creationId xmlns:a16="http://schemas.microsoft.com/office/drawing/2014/main" id="{E5F16324-BEBB-574A-8093-3AC648E1A3A8}"/>
              </a:ext>
            </a:extLst>
          </p:cNvPr>
          <p:cNvPicPr>
            <a:picLocks noChangeAspect="1"/>
          </p:cNvPicPr>
          <p:nvPr userDrawn="1"/>
        </p:nvPicPr>
        <p:blipFill rotWithShape="1">
          <a:blip r:embed="rId3"/>
          <a:srcRect l="5104" t="18926" r="5724" b="17001"/>
          <a:stretch/>
        </p:blipFill>
        <p:spPr>
          <a:xfrm>
            <a:off x="7014162" y="455376"/>
            <a:ext cx="1645920" cy="319424"/>
          </a:xfrm>
          <a:prstGeom prst="rect">
            <a:avLst/>
          </a:prstGeom>
        </p:spPr>
      </p:pic>
    </p:spTree>
    <p:extLst>
      <p:ext uri="{BB962C8B-B14F-4D97-AF65-F5344CB8AC3E}">
        <p14:creationId xmlns:p14="http://schemas.microsoft.com/office/powerpoint/2010/main" val="25494560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6" y="1653702"/>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6" name="Freeform 65">
            <a:extLst>
              <a:ext uri="{FF2B5EF4-FFF2-40B4-BE49-F238E27FC236}">
                <a16:creationId xmlns:a16="http://schemas.microsoft.com/office/drawing/2014/main" id="{DDAEF4F6-E358-4249-AAEE-917895E8A324}"/>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1"/>
          </a:solidFill>
          <a:ln w="9525" cap="flat">
            <a:noFill/>
            <a:prstDash val="solid"/>
            <a:miter/>
          </a:ln>
        </p:spPr>
        <p:txBody>
          <a:bodyPr rtlCol="0" anchor="ctr"/>
          <a:lstStyle/>
          <a:p>
            <a:endParaRPr lang="en-US"/>
          </a:p>
        </p:txBody>
      </p:sp>
      <p:pic>
        <p:nvPicPr>
          <p:cNvPr id="9" name="Picture 8">
            <a:extLst>
              <a:ext uri="{FF2B5EF4-FFF2-40B4-BE49-F238E27FC236}">
                <a16:creationId xmlns:a16="http://schemas.microsoft.com/office/drawing/2014/main" id="{0C1A98E7-CF6D-A244-BDE6-804C323D86CA}"/>
              </a:ext>
            </a:extLst>
          </p:cNvPr>
          <p:cNvPicPr>
            <a:picLocks noChangeAspect="1"/>
          </p:cNvPicPr>
          <p:nvPr userDrawn="1"/>
        </p:nvPicPr>
        <p:blipFill>
          <a:blip r:embed="rId2"/>
          <a:srcRect/>
          <a:stretch/>
        </p:blipFill>
        <p:spPr>
          <a:xfrm>
            <a:off x="245220" y="221305"/>
            <a:ext cx="1493771" cy="769644"/>
          </a:xfrm>
          <a:prstGeom prst="rect">
            <a:avLst/>
          </a:prstGeom>
        </p:spPr>
      </p:pic>
      <p:pic>
        <p:nvPicPr>
          <p:cNvPr id="10" name="Picture 9">
            <a:extLst>
              <a:ext uri="{FF2B5EF4-FFF2-40B4-BE49-F238E27FC236}">
                <a16:creationId xmlns:a16="http://schemas.microsoft.com/office/drawing/2014/main" id="{AECC87F0-E88C-754F-87EB-E17B901550EB}"/>
              </a:ext>
            </a:extLst>
          </p:cNvPr>
          <p:cNvPicPr>
            <a:picLocks noChangeAspect="1"/>
          </p:cNvPicPr>
          <p:nvPr userDrawn="1"/>
        </p:nvPicPr>
        <p:blipFill rotWithShape="1">
          <a:blip r:embed="rId3"/>
          <a:srcRect l="5104" t="18926" r="5724" b="17001"/>
          <a:stretch/>
        </p:blipFill>
        <p:spPr>
          <a:xfrm>
            <a:off x="7014162" y="455376"/>
            <a:ext cx="1645920" cy="319424"/>
          </a:xfrm>
          <a:prstGeom prst="rect">
            <a:avLst/>
          </a:prstGeom>
        </p:spPr>
      </p:pic>
    </p:spTree>
    <p:extLst>
      <p:ext uri="{BB962C8B-B14F-4D97-AF65-F5344CB8AC3E}">
        <p14:creationId xmlns:p14="http://schemas.microsoft.com/office/powerpoint/2010/main" val="94969567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pic>
        <p:nvPicPr>
          <p:cNvPr id="9" name="Picture 8">
            <a:extLst>
              <a:ext uri="{FF2B5EF4-FFF2-40B4-BE49-F238E27FC236}">
                <a16:creationId xmlns:a16="http://schemas.microsoft.com/office/drawing/2014/main" id="{AC28A369-2929-8A40-9230-CDAC9D54AC20}"/>
              </a:ext>
            </a:extLst>
          </p:cNvPr>
          <p:cNvPicPr>
            <a:picLocks noChangeAspect="1"/>
          </p:cNvPicPr>
          <p:nvPr userDrawn="1"/>
        </p:nvPicPr>
        <p:blipFill>
          <a:blip r:embed="rId3"/>
          <a:srcRect/>
          <a:stretch/>
        </p:blipFill>
        <p:spPr>
          <a:xfrm>
            <a:off x="245220" y="221305"/>
            <a:ext cx="1493771" cy="769644"/>
          </a:xfrm>
          <a:prstGeom prst="rect">
            <a:avLst/>
          </a:prstGeom>
        </p:spPr>
      </p:pic>
      <p:pic>
        <p:nvPicPr>
          <p:cNvPr id="10" name="Picture 9">
            <a:extLst>
              <a:ext uri="{FF2B5EF4-FFF2-40B4-BE49-F238E27FC236}">
                <a16:creationId xmlns:a16="http://schemas.microsoft.com/office/drawing/2014/main" id="{D57DDBBB-C48F-744F-B299-18CD2CF3F226}"/>
              </a:ext>
            </a:extLst>
          </p:cNvPr>
          <p:cNvPicPr>
            <a:picLocks noChangeAspect="1"/>
          </p:cNvPicPr>
          <p:nvPr userDrawn="1"/>
        </p:nvPicPr>
        <p:blipFill rotWithShape="1">
          <a:blip r:embed="rId4"/>
          <a:srcRect l="5104" t="18926" r="5724" b="17001"/>
          <a:stretch/>
        </p:blipFill>
        <p:spPr>
          <a:xfrm>
            <a:off x="7014162" y="455376"/>
            <a:ext cx="1645920" cy="319424"/>
          </a:xfrm>
          <a:prstGeom prst="rect">
            <a:avLst/>
          </a:prstGeom>
        </p:spPr>
      </p:pic>
    </p:spTree>
    <p:extLst>
      <p:ext uri="{BB962C8B-B14F-4D97-AF65-F5344CB8AC3E}">
        <p14:creationId xmlns:p14="http://schemas.microsoft.com/office/powerpoint/2010/main" val="1522462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751868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5"/>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1">
              <a:alpha val="50000"/>
            </a:schemeClr>
          </a:solidFill>
          <a:ln w="20071" cap="flat">
            <a:noFill/>
            <a:prstDash val="solid"/>
            <a:miter/>
          </a:ln>
        </p:spPr>
        <p:txBody>
          <a:bodyPr rtlCol="0" anchor="ctr"/>
          <a:lstStyle/>
          <a:p>
            <a:endParaRPr lang="en-US" dirty="0"/>
          </a:p>
        </p:txBody>
      </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6"/>
            <a:ext cx="1128042" cy="207621"/>
            <a:chOff x="4467257" y="275609"/>
            <a:chExt cx="1102102" cy="202847"/>
          </a:xfrm>
          <a:solidFill>
            <a:schemeClr val="accent1"/>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4" y="531813"/>
            <a:ext cx="4204117" cy="3983038"/>
          </a:xfrm>
          <a:prstGeom prst="rect">
            <a:avLst/>
          </a:prstGeom>
        </p:spPr>
        <p:txBody>
          <a:bodyPr anchor="ctr">
            <a:noAutofit/>
          </a:bodyPr>
          <a:lstStyle>
            <a:lvl1pPr marL="274320" indent="-274320">
              <a:spcBef>
                <a:spcPts val="2400"/>
              </a:spcBef>
              <a:buClr>
                <a:schemeClr val="accent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dirty="0"/>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8" y="1328615"/>
            <a:ext cx="3180553" cy="1105079"/>
          </a:xfrm>
          <a:prstGeom prst="rect">
            <a:avLst/>
          </a:prstGeom>
        </p:spPr>
        <p:txBody>
          <a:bodyPr wrap="square" anchor="ctr">
            <a:normAutofit/>
          </a:bodyPr>
          <a:lstStyle/>
          <a:p>
            <a:pPr algn="l" defTabSz="684213" rtl="0" eaLnBrk="1" fontAlgn="base" hangingPunct="1">
              <a:lnSpc>
                <a:spcPct val="85000"/>
              </a:lnSpc>
              <a:spcBef>
                <a:spcPct val="0"/>
              </a:spcBef>
              <a:spcAft>
                <a:spcPct val="0"/>
              </a:spcAft>
            </a:pPr>
            <a:r>
              <a:rPr lang="en-US" sz="2800" b="0" i="0" u="none" kern="1200" baseline="0" dirty="0">
                <a:solidFill>
                  <a:schemeClr val="bg1"/>
                </a:solidFill>
                <a:latin typeface="+mj-lt"/>
                <a:cs typeface="CiscoSansTT Thin" charset="0"/>
              </a:rPr>
              <a:t>Agenda</a:t>
            </a:r>
          </a:p>
        </p:txBody>
      </p:sp>
      <p:grpSp>
        <p:nvGrpSpPr>
          <p:cNvPr id="19" name="Group 18">
            <a:extLst>
              <a:ext uri="{FF2B5EF4-FFF2-40B4-BE49-F238E27FC236}">
                <a16:creationId xmlns:a16="http://schemas.microsoft.com/office/drawing/2014/main" id="{DFB5A850-2000-6347-B552-434CEC9692A2}"/>
              </a:ext>
            </a:extLst>
          </p:cNvPr>
          <p:cNvGrpSpPr/>
          <p:nvPr userDrawn="1"/>
        </p:nvGrpSpPr>
        <p:grpSpPr>
          <a:xfrm>
            <a:off x="282292" y="2563081"/>
            <a:ext cx="3178762" cy="580089"/>
            <a:chOff x="5098310" y="621568"/>
            <a:chExt cx="1477115" cy="269557"/>
          </a:xfrm>
          <a:gradFill>
            <a:gsLst>
              <a:gs pos="49000">
                <a:schemeClr val="bg1">
                  <a:alpha val="6000"/>
                </a:schemeClr>
              </a:gs>
              <a:gs pos="87000">
                <a:schemeClr val="bg2">
                  <a:alpha val="40000"/>
                </a:schemeClr>
              </a:gs>
              <a:gs pos="5000">
                <a:schemeClr val="bg2">
                  <a:alpha val="0"/>
                </a:schemeClr>
              </a:gs>
            </a:gsLst>
            <a:lin ang="600000" scaled="0"/>
          </a:gradFill>
        </p:grpSpPr>
        <p:sp>
          <p:nvSpPr>
            <p:cNvPr id="20" name="Freeform 19">
              <a:extLst>
                <a:ext uri="{FF2B5EF4-FFF2-40B4-BE49-F238E27FC236}">
                  <a16:creationId xmlns:a16="http://schemas.microsoft.com/office/drawing/2014/main" id="{8F7E193E-DD3F-0B4D-85B4-D06701A47F96}"/>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0DE494EF-B7D1-9648-95B6-D6CD4DC52346}"/>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71DC1917-FAEA-B240-A2BC-453B855C83E7}"/>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D81D5C68-3593-A04E-B935-D017F1656B8F}"/>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CFC8861-7A27-9741-A819-6F9B9CE7F091}"/>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3746309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24141581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334636602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userDrawn="1">
  <p:cSld name="Segue – Midnight">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252724608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03265165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accent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tx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06697918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86BE431-24C5-E54F-A4C8-A1F6009F30BD}"/>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accent1"/>
                </a:solidFill>
              </a:defRPr>
            </a:lvl1pPr>
          </a:lstStyle>
          <a:p>
            <a:r>
              <a:rPr lang="en-US" dirty="0"/>
              <a:t>##</a:t>
            </a:r>
            <a:endParaRPr dirty="0"/>
          </a:p>
        </p:txBody>
      </p:sp>
      <p:sp>
        <p:nvSpPr>
          <p:cNvPr id="18" name="Text Placeholder 12">
            <a:extLst>
              <a:ext uri="{FF2B5EF4-FFF2-40B4-BE49-F238E27FC236}">
                <a16:creationId xmlns:a16="http://schemas.microsoft.com/office/drawing/2014/main" id="{9FE0A934-72D8-3949-B463-B67D8D143AE8}"/>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accent1"/>
                </a:solidFill>
              </a:defRPr>
            </a:lvl1pPr>
          </a:lstStyle>
          <a:p>
            <a:pPr lvl="0"/>
            <a:r>
              <a:rPr lang="en-US"/>
              <a:t>##</a:t>
            </a:r>
          </a:p>
        </p:txBody>
      </p:sp>
      <p:sp>
        <p:nvSpPr>
          <p:cNvPr id="19" name="Text Placeholder 2">
            <a:extLst>
              <a:ext uri="{FF2B5EF4-FFF2-40B4-BE49-F238E27FC236}">
                <a16:creationId xmlns:a16="http://schemas.microsoft.com/office/drawing/2014/main" id="{5E9655FC-3F61-9F49-8308-EF0FB5AE227B}"/>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accent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20" name="Text Placeholder 14">
            <a:extLst>
              <a:ext uri="{FF2B5EF4-FFF2-40B4-BE49-F238E27FC236}">
                <a16:creationId xmlns:a16="http://schemas.microsoft.com/office/drawing/2014/main" id="{D1FE9F11-9B68-8542-8CD5-4A31007623A3}"/>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1" name="Text Placeholder 14">
            <a:extLst>
              <a:ext uri="{FF2B5EF4-FFF2-40B4-BE49-F238E27FC236}">
                <a16:creationId xmlns:a16="http://schemas.microsoft.com/office/drawing/2014/main" id="{DA1D0FD9-814A-854E-B303-72F77DDDF739}"/>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1"/>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2" name="Text Placeholder 14">
            <a:extLst>
              <a:ext uri="{FF2B5EF4-FFF2-40B4-BE49-F238E27FC236}">
                <a16:creationId xmlns:a16="http://schemas.microsoft.com/office/drawing/2014/main" id="{87E4A93B-F98D-9148-A567-7F60A945CB4C}"/>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accent1"/>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Tree>
    <p:extLst>
      <p:ext uri="{BB962C8B-B14F-4D97-AF65-F5344CB8AC3E}">
        <p14:creationId xmlns:p14="http://schemas.microsoft.com/office/powerpoint/2010/main" val="191355249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accent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8" name="Text Placeholder 14">
            <a:extLst>
              <a:ext uri="{FF2B5EF4-FFF2-40B4-BE49-F238E27FC236}">
                <a16:creationId xmlns:a16="http://schemas.microsoft.com/office/drawing/2014/main" id="{BF524472-0C76-3244-B104-518268EC6AAC}"/>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9" name="Text Placeholder 14">
            <a:extLst>
              <a:ext uri="{FF2B5EF4-FFF2-40B4-BE49-F238E27FC236}">
                <a16:creationId xmlns:a16="http://schemas.microsoft.com/office/drawing/2014/main" id="{96946D87-E546-C540-BA0D-AC6D38EB25CF}"/>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4" name="Text Placeholder 14">
            <a:extLst>
              <a:ext uri="{FF2B5EF4-FFF2-40B4-BE49-F238E27FC236}">
                <a16:creationId xmlns:a16="http://schemas.microsoft.com/office/drawing/2014/main" id="{F580CAE0-CE55-554D-9765-2D4829851B1B}"/>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a:t>Subtitle (Use “Indent More” or ‘Indent Less to format sub-bullets)</a:t>
            </a:r>
          </a:p>
          <a:p>
            <a:pPr lvl="1"/>
            <a:r>
              <a:rPr lang="en-US"/>
              <a:t>First level</a:t>
            </a:r>
          </a:p>
          <a:p>
            <a:pPr lvl="2"/>
            <a:r>
              <a:rPr lang="en-US"/>
              <a:t>Second level</a:t>
            </a:r>
          </a:p>
          <a:p>
            <a:pPr lvl="3"/>
            <a:r>
              <a:rPr lang="en-US"/>
              <a:t>Third level (avoid using)</a:t>
            </a:r>
          </a:p>
        </p:txBody>
      </p:sp>
      <p:sp>
        <p:nvSpPr>
          <p:cNvPr id="10" name="Rectangle 7">
            <a:extLst>
              <a:ext uri="{FF2B5EF4-FFF2-40B4-BE49-F238E27FC236}">
                <a16:creationId xmlns:a16="http://schemas.microsoft.com/office/drawing/2014/main" id="{EBF7D149-1621-9141-B9C3-C6BA64906AA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sp>
        <p:nvSpPr>
          <p:cNvPr id="21" name="Rectangle 4">
            <a:extLst>
              <a:ext uri="{FF2B5EF4-FFF2-40B4-BE49-F238E27FC236}">
                <a16:creationId xmlns:a16="http://schemas.microsoft.com/office/drawing/2014/main" id="{D062C616-14A8-3347-B71B-037844E9B1CB}"/>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23" name="Picture 22">
            <a:extLst>
              <a:ext uri="{FF2B5EF4-FFF2-40B4-BE49-F238E27FC236}">
                <a16:creationId xmlns:a16="http://schemas.microsoft.com/office/drawing/2014/main" id="{8C174FB3-9259-CD4F-944D-50859FB3DBCF}"/>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260917917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alpha val="50000"/>
                  </a:schemeClr>
                </a:solidFill>
                <a:latin typeface="+mn-lt"/>
                <a:ea typeface="+mn-ea"/>
                <a:cs typeface="CiscoSans Thin"/>
              </a:rPr>
              <a:t>© 2020 Cisco and/or its affiliates. All rights reserved. Cisco Confidential   </a:t>
            </a:r>
          </a:p>
        </p:txBody>
      </p:sp>
      <p:pic>
        <p:nvPicPr>
          <p:cNvPr id="26" name="Picture 25">
            <a:extLst>
              <a:ext uri="{FF2B5EF4-FFF2-40B4-BE49-F238E27FC236}">
                <a16:creationId xmlns:a16="http://schemas.microsoft.com/office/drawing/2014/main" id="{CC8D4C5C-86B8-CA45-8008-AF25AB9C4EF7}"/>
              </a:ext>
            </a:extLst>
          </p:cNvPr>
          <p:cNvPicPr>
            <a:picLocks noChangeAspect="1"/>
          </p:cNvPicPr>
          <p:nvPr userDrawn="1"/>
        </p:nvPicPr>
        <p:blipFill>
          <a:blip r:embed="rId3"/>
          <a:stretch>
            <a:fillRect/>
          </a:stretch>
        </p:blipFill>
        <p:spPr>
          <a:xfrm>
            <a:off x="528762" y="4754880"/>
            <a:ext cx="921665" cy="155093"/>
          </a:xfrm>
          <a:prstGeom prst="rect">
            <a:avLst/>
          </a:prstGeom>
        </p:spPr>
      </p:pic>
    </p:spTree>
    <p:extLst>
      <p:ext uri="{BB962C8B-B14F-4D97-AF65-F5344CB8AC3E}">
        <p14:creationId xmlns:p14="http://schemas.microsoft.com/office/powerpoint/2010/main" val="210815533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15511469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9757787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a:prstGeom prst="rect">
            <a:avLst/>
          </a:prstGeom>
        </p:spPr>
        <p:txBody>
          <a:bodyPr/>
          <a:lstStyle>
            <a:lvl1pPr>
              <a:defRPr/>
            </a:lvl1pPr>
            <a:lvl2pPr>
              <a:defRPr/>
            </a:lvl2pPr>
            <a:lvl3pPr>
              <a:defRPr/>
            </a:lvl3pPr>
          </a:lstStyle>
          <a:p>
            <a:pPr lvl="0"/>
            <a:r>
              <a:rPr lang="en-US"/>
              <a:t>First level (use “Indent More” or “Indent Less” to format sub-bullets)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024043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solidFill>
                <a:schemeClr val="tx2"/>
              </a:solidFill>
              <a:prstDash val="solid"/>
              <a:miter/>
            </a:ln>
          </p:spPr>
          <p:txBody>
            <a:bodyPr rtlCol="0" anchor="ctr"/>
            <a:lstStyle/>
            <a:p>
              <a:endParaRPr lang="en-US" dirty="0"/>
            </a:p>
          </p:txBody>
        </p:sp>
      </p:grpSp>
    </p:spTree>
    <p:extLst>
      <p:ext uri="{BB962C8B-B14F-4D97-AF65-F5344CB8AC3E}">
        <p14:creationId xmlns:p14="http://schemas.microsoft.com/office/powerpoint/2010/main" val="356525323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6" y="1204180"/>
            <a:ext cx="5776767"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B8334349-246B-8747-8834-B21ED22A0F6B}"/>
              </a:ext>
            </a:extLst>
          </p:cNvPr>
          <p:cNvGrpSpPr/>
          <p:nvPr userDrawn="1"/>
        </p:nvGrpSpPr>
        <p:grpSpPr>
          <a:xfrm>
            <a:off x="5994367" y="2003514"/>
            <a:ext cx="3149633" cy="3139986"/>
            <a:chOff x="5994367" y="2003514"/>
            <a:chExt cx="3149633" cy="3139986"/>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24" name="Graphic 15">
              <a:extLst>
                <a:ext uri="{FF2B5EF4-FFF2-40B4-BE49-F238E27FC236}">
                  <a16:creationId xmlns:a16="http://schemas.microsoft.com/office/drawing/2014/main" id="{61B2E654-3726-7541-8BF3-7A6A41A2515F}"/>
                </a:ext>
              </a:extLst>
            </p:cNvPr>
            <p:cNvSpPr>
              <a:spLocks noChangeAspect="1"/>
            </p:cNvSpPr>
            <p:nvPr userDrawn="1"/>
          </p:nvSpPr>
          <p:spPr>
            <a:xfrm>
              <a:off x="5994367" y="2282468"/>
              <a:ext cx="2549557" cy="2532420"/>
            </a:xfrm>
            <a:custGeom>
              <a:avLst/>
              <a:gdLst>
                <a:gd name="connsiteX0" fmla="*/ 1898713 w 1898712"/>
                <a:gd name="connsiteY0" fmla="*/ 1885950 h 1885950"/>
                <a:gd name="connsiteX1" fmla="*/ 1898713 w 1898712"/>
                <a:gd name="connsiteY1" fmla="*/ 0 h 1885950"/>
                <a:gd name="connsiteX2" fmla="*/ 0 w 1898712"/>
                <a:gd name="connsiteY2" fmla="*/ 1885950 h 1885950"/>
                <a:gd name="connsiteX3" fmla="*/ 1898713 w 1898712"/>
                <a:gd name="connsiteY3" fmla="*/ 1885950 h 1885950"/>
              </a:gdLst>
              <a:ahLst/>
              <a:cxnLst>
                <a:cxn ang="0">
                  <a:pos x="connsiteX0" y="connsiteY0"/>
                </a:cxn>
                <a:cxn ang="0">
                  <a:pos x="connsiteX1" y="connsiteY1"/>
                </a:cxn>
                <a:cxn ang="0">
                  <a:pos x="connsiteX2" y="connsiteY2"/>
                </a:cxn>
                <a:cxn ang="0">
                  <a:pos x="connsiteX3" y="connsiteY3"/>
                </a:cxn>
              </a:cxnLst>
              <a:rect l="l" t="t" r="r" b="b"/>
              <a:pathLst>
                <a:path w="1898712" h="1885950">
                  <a:moveTo>
                    <a:pt x="1898713" y="1885950"/>
                  </a:moveTo>
                  <a:lnTo>
                    <a:pt x="1898713" y="0"/>
                  </a:lnTo>
                  <a:lnTo>
                    <a:pt x="0" y="1885950"/>
                  </a:lnTo>
                  <a:lnTo>
                    <a:pt x="1898713" y="1885950"/>
                  </a:lnTo>
                  <a:close/>
                </a:path>
              </a:pathLst>
            </a:custGeom>
            <a:noFill/>
            <a:ln w="18956" cap="flat">
              <a:solidFill>
                <a:srgbClr val="6EBE4A"/>
              </a:solidFill>
              <a:prstDash val="solid"/>
              <a:round/>
            </a:ln>
          </p:spPr>
          <p:txBody>
            <a:bodyPr rtlCol="0" anchor="ctr"/>
            <a:lstStyle/>
            <a:p>
              <a:endParaRPr lang="en-US"/>
            </a:p>
          </p:txBody>
        </p:sp>
        <p:pic>
          <p:nvPicPr>
            <p:cNvPr id="25" name="Picture 24">
              <a:extLst>
                <a:ext uri="{FF2B5EF4-FFF2-40B4-BE49-F238E27FC236}">
                  <a16:creationId xmlns:a16="http://schemas.microsoft.com/office/drawing/2014/main" id="{8FF7D66D-FD86-A149-A8F5-117A6B95054D}"/>
                </a:ext>
              </a:extLst>
            </p:cNvPr>
            <p:cNvPicPr>
              <a:picLocks noChangeAspect="1"/>
            </p:cNvPicPr>
            <p:nvPr userDrawn="1"/>
          </p:nvPicPr>
          <p:blipFill rotWithShape="1">
            <a:blip r:embed="rId2" cstate="print">
              <a:alphaModFix amt="57000"/>
              <a:extLst>
                <a:ext uri="{28A0092B-C50C-407E-A947-70E740481C1C}">
                  <a14:useLocalDpi xmlns:a14="http://schemas.microsoft.com/office/drawing/2010/main"/>
                </a:ext>
              </a:extLst>
            </a:blip>
            <a:srcRect/>
            <a:stretch/>
          </p:blipFill>
          <p:spPr>
            <a:xfrm flipH="1">
              <a:off x="6295635" y="2576064"/>
              <a:ext cx="1878266" cy="1876597"/>
            </a:xfrm>
            <a:prstGeom prst="ellipse">
              <a:avLst/>
            </a:prstGeom>
            <a:ln>
              <a:noFill/>
            </a:ln>
            <a:effectLst>
              <a:softEdge rad="0"/>
            </a:effectLst>
          </p:spPr>
        </p:pic>
        <p:pic>
          <p:nvPicPr>
            <p:cNvPr id="26" name="Picture 25">
              <a:extLst>
                <a:ext uri="{FF2B5EF4-FFF2-40B4-BE49-F238E27FC236}">
                  <a16:creationId xmlns:a16="http://schemas.microsoft.com/office/drawing/2014/main" id="{6EFFB74B-6D0F-2B4F-9D09-C30F4CF0324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684101" y="2003514"/>
              <a:ext cx="2459899" cy="3139986"/>
            </a:xfrm>
            <a:prstGeom prst="rect">
              <a:avLst/>
            </a:prstGeom>
          </p:spPr>
        </p:pic>
      </p:grpSp>
    </p:spTree>
    <p:extLst>
      <p:ext uri="{BB962C8B-B14F-4D97-AF65-F5344CB8AC3E}">
        <p14:creationId xmlns:p14="http://schemas.microsoft.com/office/powerpoint/2010/main" val="99603779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a:t>First level (use “Indent More” to forma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316704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0"/>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0"/>
            <a:ext cx="4023360" cy="3324225"/>
          </a:xfrm>
          <a:prstGeom prst="rect">
            <a:avLst/>
          </a:prstGeom>
        </p:spPr>
        <p:txBody>
          <a:bodyPr/>
          <a:lstStyle>
            <a:lvl1pPr>
              <a:defRPr/>
            </a:lvl1pPr>
          </a:lstStyle>
          <a:p>
            <a:pPr lvl="0"/>
            <a:r>
              <a:rPr lang="en-US"/>
              <a:t>First level (use “Indent More” to format sub-bullet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984440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158575944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114021200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29430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42638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no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8"/>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14594278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08862103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60347473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6"/>
            <a:ext cx="8115300" cy="2834640"/>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192D2533-5FB4-AD42-B121-FD71B68AF10D}"/>
              </a:ext>
            </a:extLst>
          </p:cNvPr>
          <p:cNvSpPr>
            <a:spLocks noGrp="1"/>
          </p:cNvSpPr>
          <p:nvPr>
            <p:ph type="body" sz="quarter" idx="11" hasCustomPrompt="1"/>
          </p:nvPr>
        </p:nvSpPr>
        <p:spPr>
          <a:xfrm>
            <a:off x="437766" y="4038153"/>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250239837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194243"/>
            <a:ext cx="8115300" cy="2834640"/>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7" name="Text Placeholder 9">
            <a:extLst>
              <a:ext uri="{FF2B5EF4-FFF2-40B4-BE49-F238E27FC236}">
                <a16:creationId xmlns:a16="http://schemas.microsoft.com/office/drawing/2014/main" id="{72E1AAE4-B921-5B4D-A9EB-F575EB38B943}"/>
              </a:ext>
            </a:extLst>
          </p:cNvPr>
          <p:cNvSpPr>
            <a:spLocks noGrp="1"/>
          </p:cNvSpPr>
          <p:nvPr>
            <p:ph type="body" sz="quarter" idx="11" hasCustomPrompt="1"/>
          </p:nvPr>
        </p:nvSpPr>
        <p:spPr>
          <a:xfrm>
            <a:off x="437766" y="4038154"/>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Tree>
    <p:extLst>
      <p:ext uri="{BB962C8B-B14F-4D97-AF65-F5344CB8AC3E}">
        <p14:creationId xmlns:p14="http://schemas.microsoft.com/office/powerpoint/2010/main" val="355958596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Half Page Bullet + Image">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6" name="Title Placeholder 5"/>
          <p:cNvSpPr>
            <a:spLocks noGrp="1"/>
          </p:cNvSpPr>
          <p:nvPr>
            <p:ph type="title" hasCustomPrompt="1"/>
          </p:nvPr>
        </p:nvSpPr>
        <p:spPr bwMode="auto">
          <a:xfrm>
            <a:off x="437766"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16" name="Text Placeholder 3">
            <a:extLst>
              <a:ext uri="{FF2B5EF4-FFF2-40B4-BE49-F238E27FC236}">
                <a16:creationId xmlns:a16="http://schemas.microsoft.com/office/drawing/2014/main" id="{35DFCE68-AC05-4B44-8313-C09DF7E1BF29}"/>
              </a:ext>
            </a:extLst>
          </p:cNvPr>
          <p:cNvSpPr>
            <a:spLocks noGrp="1"/>
          </p:cNvSpPr>
          <p:nvPr>
            <p:ph type="body" sz="quarter" idx="12" hasCustomPrompt="1"/>
          </p:nvPr>
        </p:nvSpPr>
        <p:spPr>
          <a:xfrm>
            <a:off x="437766" y="1665182"/>
            <a:ext cx="3662024" cy="2849668"/>
          </a:xfrm>
          <a:prstGeom prst="rect">
            <a:avLst/>
          </a:prstGeom>
        </p:spPr>
        <p:txBody>
          <a:bodyPr vert="horz" lIns="91440" tIns="45720" rIns="91440" bIns="45720" rtlCol="0" anchor="t">
            <a:noAutofit/>
          </a:bodyPr>
          <a:lstStyle>
            <a:lvl1pPr marL="228600" indent="-219456">
              <a:buClr>
                <a:schemeClr val="accent1"/>
              </a:buClr>
              <a:defRPr lang="en-GB" dirty="0">
                <a:solidFill>
                  <a:schemeClr val="bg2"/>
                </a:solidFill>
              </a:defRPr>
            </a:lvl1pPr>
            <a:lvl2pPr marL="448056" indent="-210312">
              <a:buClr>
                <a:schemeClr val="accent1"/>
              </a:buClr>
              <a:tabLst>
                <a:tab pos="171450" algn="l"/>
              </a:tabLst>
              <a:defRPr lang="en-GB" dirty="0">
                <a:solidFill>
                  <a:schemeClr val="bg2"/>
                </a:solidFill>
              </a:defRPr>
            </a:lvl2pPr>
            <a:lvl3pPr marL="621792" indent="-173736">
              <a:buClr>
                <a:schemeClr val="accent1"/>
              </a:buClr>
              <a:defRPr lang="en-GB" dirty="0">
                <a:solidFill>
                  <a:schemeClr val="bg2"/>
                </a:solidFill>
              </a:defRPr>
            </a:lvl3pPr>
            <a:lvl4pPr marL="804672" indent="-201168">
              <a:buClr>
                <a:schemeClr val="accent1"/>
              </a:buClr>
              <a:defRPr lang="en-GB" dirty="0">
                <a:solidFill>
                  <a:schemeClr val="bg2"/>
                </a:solidFill>
              </a:defRPr>
            </a:lvl4pPr>
            <a:lvl5pPr marL="969264" indent="-173736">
              <a:buClr>
                <a:schemeClr val="accent1"/>
              </a:buClr>
              <a:defRPr lang="en-US" dirty="0">
                <a:solidFill>
                  <a:schemeClr val="bg2"/>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28" name="Picture 27">
            <a:extLst>
              <a:ext uri="{FF2B5EF4-FFF2-40B4-BE49-F238E27FC236}">
                <a16:creationId xmlns:a16="http://schemas.microsoft.com/office/drawing/2014/main" id="{C44B64B2-2AAE-0544-97BB-CF8FAEF006E7}"/>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243625955"/>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Half Page + Bulle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29235" y="1657350"/>
            <a:ext cx="3813048"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15" name="Text Placeholder 3">
            <a:extLst>
              <a:ext uri="{FF2B5EF4-FFF2-40B4-BE49-F238E27FC236}">
                <a16:creationId xmlns:a16="http://schemas.microsoft.com/office/drawing/2014/main" id="{55BECF40-332B-7245-9C28-01DE7BED6BA3}"/>
              </a:ext>
            </a:extLst>
          </p:cNvPr>
          <p:cNvSpPr>
            <a:spLocks noGrp="1"/>
          </p:cNvSpPr>
          <p:nvPr>
            <p:ph type="body" sz="quarter" idx="12" hasCustomPrompt="1"/>
          </p:nvPr>
        </p:nvSpPr>
        <p:spPr>
          <a:xfrm>
            <a:off x="4993516" y="416820"/>
            <a:ext cx="3749040" cy="4206240"/>
          </a:xfrm>
          <a:prstGeom prst="rect">
            <a:avLst/>
          </a:prstGeom>
        </p:spPr>
        <p:txBody>
          <a:bodyPr vert="horz" lIns="91440" tIns="45720" rIns="91440" bIns="45720" rtlCol="0" anchor="ctr">
            <a:noAutofit/>
          </a:bodyPr>
          <a:lstStyle>
            <a:lvl1pPr marL="228600" indent="-219456">
              <a:buClr>
                <a:schemeClr val="accent1"/>
              </a:buClr>
              <a:defRPr lang="en-GB" dirty="0">
                <a:solidFill>
                  <a:schemeClr val="tx1"/>
                </a:solidFill>
              </a:defRPr>
            </a:lvl1pPr>
            <a:lvl2pPr marL="448056" indent="-210312">
              <a:buClr>
                <a:schemeClr val="accent1"/>
              </a:buClr>
              <a:tabLst>
                <a:tab pos="171450" algn="l"/>
              </a:tabLst>
              <a:defRPr lang="en-GB" dirty="0">
                <a:solidFill>
                  <a:schemeClr val="tx1"/>
                </a:solidFill>
              </a:defRPr>
            </a:lvl2pPr>
            <a:lvl3pPr marL="621792" indent="-173736">
              <a:buClr>
                <a:schemeClr val="accent1"/>
              </a:buClr>
              <a:defRPr lang="en-GB" dirty="0">
                <a:solidFill>
                  <a:schemeClr val="tx1"/>
                </a:solidFill>
              </a:defRPr>
            </a:lvl3pPr>
            <a:lvl4pPr marL="804672" indent="-201168">
              <a:buClr>
                <a:schemeClr val="accent1"/>
              </a:buClr>
              <a:defRPr lang="en-GB" dirty="0">
                <a:solidFill>
                  <a:schemeClr val="tx1"/>
                </a:solidFill>
              </a:defRPr>
            </a:lvl4pPr>
            <a:lvl5pPr marL="969264" indent="-173736">
              <a:buClr>
                <a:schemeClr val="accent1"/>
              </a:buClr>
              <a:defRPr lang="en-US" dirty="0">
                <a:solidFill>
                  <a:schemeClr val="tx1"/>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16" name="Picture 15">
            <a:extLst>
              <a:ext uri="{FF2B5EF4-FFF2-40B4-BE49-F238E27FC236}">
                <a16:creationId xmlns:a16="http://schemas.microsoft.com/office/drawing/2014/main" id="{0ED88771-3A4B-FA4B-A6A2-73144B112015}"/>
              </a:ext>
            </a:extLst>
          </p:cNvPr>
          <p:cNvPicPr>
            <a:picLocks noChangeAspect="1"/>
          </p:cNvPicPr>
          <p:nvPr userDrawn="1"/>
        </p:nvPicPr>
        <p:blipFill>
          <a:blip r:embed="rId2"/>
          <a:stretch>
            <a:fillRect/>
          </a:stretch>
        </p:blipFill>
        <p:spPr>
          <a:xfrm>
            <a:off x="528762" y="4754880"/>
            <a:ext cx="921665" cy="155093"/>
          </a:xfrm>
          <a:prstGeom prst="rect">
            <a:avLst/>
          </a:prstGeom>
        </p:spPr>
      </p:pic>
    </p:spTree>
    <p:extLst>
      <p:ext uri="{BB962C8B-B14F-4D97-AF65-F5344CB8AC3E}">
        <p14:creationId xmlns:p14="http://schemas.microsoft.com/office/powerpoint/2010/main" val="370492786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74920" y="498360"/>
            <a:ext cx="3566160" cy="356616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78413" y="4377076"/>
            <a:ext cx="3559175" cy="457200"/>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6" name="Picture 15">
            <a:extLst>
              <a:ext uri="{FF2B5EF4-FFF2-40B4-BE49-F238E27FC236}">
                <a16:creationId xmlns:a16="http://schemas.microsoft.com/office/drawing/2014/main" id="{2B5AF067-E270-6340-8783-D8B22136B81F}"/>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3815147999"/>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4" name="Picture 13">
            <a:extLst>
              <a:ext uri="{FF2B5EF4-FFF2-40B4-BE49-F238E27FC236}">
                <a16:creationId xmlns:a16="http://schemas.microsoft.com/office/drawing/2014/main" id="{26F346CA-4563-484A-B1A2-44A580D07D7C}"/>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47965605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5" name="Picture 14">
            <a:extLst>
              <a:ext uri="{FF2B5EF4-FFF2-40B4-BE49-F238E27FC236}">
                <a16:creationId xmlns:a16="http://schemas.microsoft.com/office/drawing/2014/main" id="{4E71D0A8-1E05-8948-84F4-22AE9FE0FA5C}"/>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419637083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Half Page +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5" name="Picture 14">
            <a:extLst>
              <a:ext uri="{FF2B5EF4-FFF2-40B4-BE49-F238E27FC236}">
                <a16:creationId xmlns:a16="http://schemas.microsoft.com/office/drawing/2014/main" id="{274E1B27-FCF0-2441-B9C7-FFF2B79572FF}"/>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1329264979"/>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Half Page + Table">
    <p:spTree>
      <p:nvGrpSpPr>
        <p:cNvPr id="1" name=""/>
        <p:cNvGrpSpPr/>
        <p:nvPr/>
      </p:nvGrpSpPr>
      <p:grpSpPr>
        <a:xfrm>
          <a:off x="0" y="0"/>
          <a:ext cx="0" cy="0"/>
          <a:chOff x="0" y="0"/>
          <a:chExt cx="0" cy="0"/>
        </a:xfrm>
      </p:grpSpPr>
      <p:sp>
        <p:nvSpPr>
          <p:cNvPr id="4" name="Rectangle 3"/>
          <p:cNvSpPr/>
          <p:nvPr userDrawn="1"/>
        </p:nvSpPr>
        <p:spPr>
          <a:xfrm>
            <a:off x="-8092"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endParaRPr lang="en-US" dirty="0"/>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pic>
        <p:nvPicPr>
          <p:cNvPr id="16" name="Picture 15">
            <a:extLst>
              <a:ext uri="{FF2B5EF4-FFF2-40B4-BE49-F238E27FC236}">
                <a16:creationId xmlns:a16="http://schemas.microsoft.com/office/drawing/2014/main" id="{EF6F5EFF-AEF1-F748-9770-793417251AA8}"/>
              </a:ext>
            </a:extLst>
          </p:cNvPr>
          <p:cNvPicPr>
            <a:picLocks noChangeAspect="1"/>
          </p:cNvPicPr>
          <p:nvPr userDrawn="1"/>
        </p:nvPicPr>
        <p:blipFill>
          <a:blip r:embed="rId2"/>
          <a:stretch>
            <a:fillRect/>
          </a:stretch>
        </p:blipFill>
        <p:spPr>
          <a:xfrm>
            <a:off x="528762" y="4750592"/>
            <a:ext cx="921665" cy="155093"/>
          </a:xfrm>
          <a:prstGeom prst="rect">
            <a:avLst/>
          </a:prstGeom>
        </p:spPr>
      </p:pic>
    </p:spTree>
    <p:extLst>
      <p:ext uri="{BB962C8B-B14F-4D97-AF65-F5344CB8AC3E}">
        <p14:creationId xmlns:p14="http://schemas.microsoft.com/office/powerpoint/2010/main" val="142898514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909893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8E85C6-4576-1542-A88E-558C57D0604F}"/>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32777429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232801-7386-0C44-9230-013FBE15608D}"/>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373912723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Closing – White">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6D49DD-7341-6C49-988B-89AC853B386E}"/>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18593358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42500890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9016480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47533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40570192"/>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alpha val="71000"/>
          </a:schemeClr>
        </a:solidFill>
        <a:effectLst/>
      </p:bgPr>
    </p:bg>
    <p:spTree>
      <p:nvGrpSpPr>
        <p:cNvPr id="1" name=""/>
        <p:cNvGrpSpPr/>
        <p:nvPr/>
      </p:nvGrpSpPr>
      <p:grpSpPr>
        <a:xfrm>
          <a:off x="0" y="0"/>
          <a:ext cx="0" cy="0"/>
          <a:chOff x="0" y="0"/>
          <a:chExt cx="0" cy="0"/>
        </a:xfrm>
      </p:grpSpPr>
      <p:pic>
        <p:nvPicPr>
          <p:cNvPr id="12" name="Picture 11" descr="A picture containing person, person, holding, front&#10;&#10;Description automatically generated">
            <a:extLst>
              <a:ext uri="{FF2B5EF4-FFF2-40B4-BE49-F238E27FC236}">
                <a16:creationId xmlns:a16="http://schemas.microsoft.com/office/drawing/2014/main" id="{563C5AA5-F27D-FC49-8C93-F74B53DD92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70827" y="1429807"/>
            <a:ext cx="4876800" cy="3251200"/>
          </a:xfrm>
          <a:prstGeom prst="rect">
            <a:avLst/>
          </a:prstGeom>
        </p:spPr>
      </p:pic>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pic>
        <p:nvPicPr>
          <p:cNvPr id="14" name="Picture 13">
            <a:extLst>
              <a:ext uri="{FF2B5EF4-FFF2-40B4-BE49-F238E27FC236}">
                <a16:creationId xmlns:a16="http://schemas.microsoft.com/office/drawing/2014/main" id="{69A9F2E2-7ED9-2947-89CE-178D3DF76E3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45220" y="221305"/>
            <a:ext cx="1493771" cy="769644"/>
          </a:xfrm>
          <a:prstGeom prst="rect">
            <a:avLst/>
          </a:prstGeom>
        </p:spPr>
      </p:pic>
      <p:pic>
        <p:nvPicPr>
          <p:cNvPr id="21" name="Picture 20">
            <a:extLst>
              <a:ext uri="{FF2B5EF4-FFF2-40B4-BE49-F238E27FC236}">
                <a16:creationId xmlns:a16="http://schemas.microsoft.com/office/drawing/2014/main" id="{7730B74A-7DDF-C047-A5D5-1684A96EBB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014162" y="455376"/>
            <a:ext cx="1645920" cy="319424"/>
          </a:xfrm>
          <a:prstGeom prst="rect">
            <a:avLst/>
          </a:prstGeom>
        </p:spPr>
      </p:pic>
    </p:spTree>
    <p:extLst>
      <p:ext uri="{BB962C8B-B14F-4D97-AF65-F5344CB8AC3E}">
        <p14:creationId xmlns:p14="http://schemas.microsoft.com/office/powerpoint/2010/main" val="272773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50213203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223971845"/>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5749619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3217238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6974788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66609501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407376997"/>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66063998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457560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5143500"/>
          </a:xfrm>
          <a:prstGeom prst="rect">
            <a:avLst/>
          </a:prstGeom>
        </p:spPr>
        <p:txBody>
          <a:bodyPr/>
          <a:lstStyle/>
          <a:p>
            <a:endParaRPr lang="en-US"/>
          </a:p>
        </p:txBody>
      </p:sp>
      <p:sp>
        <p:nvSpPr>
          <p:cNvPr id="2" name="Title 1"/>
          <p:cNvSpPr>
            <a:spLocks noGrp="1"/>
          </p:cNvSpPr>
          <p:nvPr>
            <p:ph type="title"/>
          </p:nvPr>
        </p:nvSpPr>
        <p:spPr/>
        <p:txBody>
          <a:bodyPr anchor="t"/>
          <a:lstStyle/>
          <a:p>
            <a:r>
              <a:rPr lang="en-US" dirty="0"/>
              <a:t>Click to edit Master title style</a:t>
            </a:r>
          </a:p>
        </p:txBody>
      </p:sp>
    </p:spTree>
    <p:extLst>
      <p:ext uri="{BB962C8B-B14F-4D97-AF65-F5344CB8AC3E}">
        <p14:creationId xmlns:p14="http://schemas.microsoft.com/office/powerpoint/2010/main" val="71140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6C652280-ACBE-2B46-830C-6CC6807C5479}"/>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2448218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026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2F16F01F-F33D-C44D-8050-5CAB771E698E}" type="datetimeFigureOut">
              <a:rPr lang="en-US" smtClean="0"/>
              <a:t>11/3/2021</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D19A6C91-A3A3-7B43-B1AF-30C7EFF8B90F}" type="slidenum">
              <a:rPr lang="en-US" smtClean="0"/>
              <a:t>‹#›</a:t>
            </a:fld>
            <a:endParaRPr lang="en-US"/>
          </a:p>
        </p:txBody>
      </p:sp>
    </p:spTree>
    <p:extLst>
      <p:ext uri="{BB962C8B-B14F-4D97-AF65-F5344CB8AC3E}">
        <p14:creationId xmlns:p14="http://schemas.microsoft.com/office/powerpoint/2010/main" val="22969683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6129606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247"/>
            <a:ext cx="9137231" cy="5139692"/>
          </a:xfrm>
          <a:prstGeom prst="rect">
            <a:avLst/>
          </a:prstGeom>
        </p:spPr>
      </p:pic>
      <p:sp>
        <p:nvSpPr>
          <p:cNvPr id="7" name="Title 1"/>
          <p:cNvSpPr>
            <a:spLocks noGrp="1"/>
          </p:cNvSpPr>
          <p:nvPr>
            <p:ph type="ctrTitle" hasCustomPrompt="1"/>
          </p:nvPr>
        </p:nvSpPr>
        <p:spPr>
          <a:xfrm>
            <a:off x="416425" y="915409"/>
            <a:ext cx="4034551"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4080349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317"/>
            <a:ext cx="9137231" cy="5137551"/>
          </a:xfrm>
          <a:prstGeom prst="rect">
            <a:avLst/>
          </a:prstGeom>
        </p:spPr>
      </p:pic>
      <p:sp>
        <p:nvSpPr>
          <p:cNvPr id="7" name="Title 1"/>
          <p:cNvSpPr>
            <a:spLocks noGrp="1"/>
          </p:cNvSpPr>
          <p:nvPr>
            <p:ph type="ctrTitle" hasCustomPrompt="1"/>
          </p:nvPr>
        </p:nvSpPr>
        <p:spPr>
          <a:xfrm>
            <a:off x="416425" y="915409"/>
            <a:ext cx="4034551"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6454693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2" y="3247"/>
            <a:ext cx="9130466" cy="5139692"/>
          </a:xfrm>
          <a:prstGeom prst="rect">
            <a:avLst/>
          </a:prstGeom>
        </p:spPr>
      </p:pic>
      <p:sp>
        <p:nvSpPr>
          <p:cNvPr id="7" name="Title 1"/>
          <p:cNvSpPr>
            <a:spLocks noGrp="1"/>
          </p:cNvSpPr>
          <p:nvPr>
            <p:ph type="ctrTitle" hasCustomPrompt="1"/>
          </p:nvPr>
        </p:nvSpPr>
        <p:spPr>
          <a:xfrm>
            <a:off x="416425" y="915409"/>
            <a:ext cx="4034551"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621888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7288417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5311625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157951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117278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2372B4-87A1-974E-A6F5-2BB1FD0EADC5}"/>
              </a:ext>
            </a:extLst>
          </p:cNvPr>
          <p:cNvSpPr>
            <a:spLocks noGrp="1"/>
          </p:cNvSpPr>
          <p:nvPr>
            <p:ph type="body" sz="quarter" idx="10" hasCustomPrompt="1"/>
          </p:nvPr>
        </p:nvSpPr>
        <p:spPr>
          <a:xfrm>
            <a:off x="438150" y="973134"/>
            <a:ext cx="8345488" cy="584200"/>
          </a:xfrm>
        </p:spPr>
        <p:txBody>
          <a:bodyPr/>
          <a:lstStyle>
            <a:lvl1pPr marL="7937" indent="0">
              <a:buNone/>
              <a:defRPr sz="2000">
                <a:solidFill>
                  <a:schemeClr val="accent1"/>
                </a:solidFill>
              </a:defRPr>
            </a:lvl1pPr>
            <a:lvl2pPr marL="12700" indent="0">
              <a:buNone/>
              <a:tabLst/>
              <a:defRPr sz="1800">
                <a:solidFill>
                  <a:schemeClr val="accent2"/>
                </a:solidFill>
              </a:defRPr>
            </a:lvl2pPr>
            <a:lvl3pPr marL="12700" indent="0">
              <a:buNone/>
              <a:tabLst/>
              <a:defRPr sz="1800">
                <a:solidFill>
                  <a:schemeClr val="accent2"/>
                </a:solidFill>
              </a:defRPr>
            </a:lvl3pPr>
            <a:lvl4pPr marL="12700" indent="0">
              <a:buNone/>
              <a:tabLst/>
              <a:defRPr sz="1800">
                <a:solidFill>
                  <a:schemeClr val="accent2"/>
                </a:solidFill>
              </a:defRPr>
            </a:lvl4pPr>
            <a:lvl5pPr marL="12700" indent="0">
              <a:buNone/>
              <a:tabLst/>
              <a:defRPr sz="1800">
                <a:solidFill>
                  <a:schemeClr val="accent2"/>
                </a:solidFill>
              </a:defRPr>
            </a:lvl5pPr>
          </a:lstStyle>
          <a:p>
            <a:pPr lvl="0"/>
            <a:r>
              <a:rPr lang="en-US"/>
              <a:t>Subtitle Goes Here (20pt)</a:t>
            </a:r>
          </a:p>
        </p:txBody>
      </p:sp>
      <p:sp>
        <p:nvSpPr>
          <p:cNvPr id="4" name="Title Placeholder 5">
            <a:extLst>
              <a:ext uri="{FF2B5EF4-FFF2-40B4-BE49-F238E27FC236}">
                <a16:creationId xmlns:a16="http://schemas.microsoft.com/office/drawing/2014/main" id="{6FBE4380-8968-7E4F-AB04-1E7E6B1B75F2}"/>
              </a:ext>
            </a:extLst>
          </p:cNvPr>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Tree>
    <p:extLst>
      <p:ext uri="{BB962C8B-B14F-4D97-AF65-F5344CB8AC3E}">
        <p14:creationId xmlns:p14="http://schemas.microsoft.com/office/powerpoint/2010/main" val="40476483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4356571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6585227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42495263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7529594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4348581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6748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9708700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582649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0158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Tree>
    <p:extLst>
      <p:ext uri="{BB962C8B-B14F-4D97-AF65-F5344CB8AC3E}">
        <p14:creationId xmlns:p14="http://schemas.microsoft.com/office/powerpoint/2010/main" val="1105834675"/>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2477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67464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991446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Tree>
    <p:extLst>
      <p:ext uri="{BB962C8B-B14F-4D97-AF65-F5344CB8AC3E}">
        <p14:creationId xmlns:p14="http://schemas.microsoft.com/office/powerpoint/2010/main" val="418232341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Tree>
    <p:extLst>
      <p:ext uri="{BB962C8B-B14F-4D97-AF65-F5344CB8AC3E}">
        <p14:creationId xmlns:p14="http://schemas.microsoft.com/office/powerpoint/2010/main" val="223705458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Tree>
    <p:extLst>
      <p:ext uri="{BB962C8B-B14F-4D97-AF65-F5344CB8AC3E}">
        <p14:creationId xmlns:p14="http://schemas.microsoft.com/office/powerpoint/2010/main" val="328091448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Tree>
    <p:extLst>
      <p:ext uri="{BB962C8B-B14F-4D97-AF65-F5344CB8AC3E}">
        <p14:creationId xmlns:p14="http://schemas.microsoft.com/office/powerpoint/2010/main" val="56410703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086155625"/>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Tree>
    <p:extLst>
      <p:ext uri="{BB962C8B-B14F-4D97-AF65-F5344CB8AC3E}">
        <p14:creationId xmlns:p14="http://schemas.microsoft.com/office/powerpoint/2010/main" val="250696197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2571128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CiscoSans ExtraLight" charset="0"/>
                <a:cs typeface="CiscoSans ExtraLight" charset="0"/>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CiscoSans ExtraLight" charset="0"/>
                <a:ea typeface="+mn-ea"/>
                <a:cs typeface="CiscoSans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CiscoSans ExtraLight" charset="0"/>
                <a:ea typeface="+mn-ea"/>
                <a:cs typeface="CiscoSans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CiscoSans ExtraLight" charset="0"/>
                <a:cs typeface="CiscoSans ExtraLight" charset="0"/>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CiscoSans ExtraLight" charset="0"/>
                <a:cs typeface="CiscoSans ExtraLight" charset="0"/>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457189"/>
            <a:endParaRPr lang="en-US" sz="1800">
              <a:solidFill>
                <a:srgbClr val="005073"/>
              </a:solidFill>
            </a:endParaRPr>
          </a:p>
        </p:txBody>
      </p:sp>
    </p:spTree>
    <p:extLst>
      <p:ext uri="{BB962C8B-B14F-4D97-AF65-F5344CB8AC3E}">
        <p14:creationId xmlns:p14="http://schemas.microsoft.com/office/powerpoint/2010/main" val="130836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 Whit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6EBF9FC-1C6D-0943-BC82-E2969F4342B0}"/>
              </a:ext>
            </a:extLst>
          </p:cNvPr>
          <p:cNvPicPr>
            <a:picLocks noChangeAspect="1"/>
          </p:cNvPicPr>
          <p:nvPr userDrawn="1"/>
        </p:nvPicPr>
        <p:blipFill>
          <a:blip r:embed="rId2"/>
          <a:stretch>
            <a:fillRect/>
          </a:stretch>
        </p:blipFill>
        <p:spPr>
          <a:xfrm>
            <a:off x="2502974" y="2222615"/>
            <a:ext cx="4149590" cy="698270"/>
          </a:xfrm>
          <a:prstGeom prst="rect">
            <a:avLst/>
          </a:prstGeom>
        </p:spPr>
      </p:pic>
    </p:spTree>
    <p:extLst>
      <p:ext uri="{BB962C8B-B14F-4D97-AF65-F5344CB8AC3E}">
        <p14:creationId xmlns:p14="http://schemas.microsoft.com/office/powerpoint/2010/main" val="5771874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dirty="0">
              <a:solidFill>
                <a:srgbClr val="005073"/>
              </a:solidFill>
              <a:latin typeface="CiscoSans ExtraLight" charset="0"/>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CiscoSans ExtraLight" charset="0"/>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5168335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dirty="0">
              <a:solidFill>
                <a:srgbClr val="005073"/>
              </a:solidFill>
              <a:latin typeface="CiscoSans ExtraLight" charset="0"/>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CiscoSans ExtraLight" charset="0"/>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555355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dirty="0">
              <a:solidFill>
                <a:srgbClr val="00BCEB"/>
              </a:solidFill>
              <a:latin typeface="CiscoSans ExtraLight" charset="0"/>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CiscoSans ExtraLight"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0" spc="0" baseline="0">
                <a:solidFill>
                  <a:schemeClr val="bg1"/>
                </a:solidFill>
                <a:latin typeface="CiscoSans ExtraLight" charset="0"/>
                <a:cs typeface="CiscoSans Thin"/>
              </a:defRPr>
            </a:lvl1pPr>
          </a:lstStyle>
          <a:p>
            <a:r>
              <a:rPr lang="en-US" dirty="0"/>
              <a:t>Click to edit Master title style</a:t>
            </a:r>
          </a:p>
        </p:txBody>
      </p:sp>
    </p:spTree>
    <p:extLst>
      <p:ext uri="{BB962C8B-B14F-4D97-AF65-F5344CB8AC3E}">
        <p14:creationId xmlns:p14="http://schemas.microsoft.com/office/powerpoint/2010/main" val="1646066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800" dirty="0">
              <a:solidFill>
                <a:srgbClr val="00BCEB"/>
              </a:solidFill>
              <a:latin typeface="CiscoSans ExtraLight" charset="0"/>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CiscoSans ExtraLight"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0" spc="0" baseline="0">
                <a:solidFill>
                  <a:schemeClr val="tx2"/>
                </a:solidFill>
                <a:latin typeface="CiscoSans ExtraLight" charset="0"/>
                <a:cs typeface="CiscoSans Thin"/>
              </a:defRPr>
            </a:lvl1pPr>
          </a:lstStyle>
          <a:p>
            <a:r>
              <a:rPr lang="en-US" dirty="0"/>
              <a:t>Click to edit Master title style</a:t>
            </a:r>
          </a:p>
        </p:txBody>
      </p:sp>
    </p:spTree>
    <p:extLst>
      <p:ext uri="{BB962C8B-B14F-4D97-AF65-F5344CB8AC3E}">
        <p14:creationId xmlns:p14="http://schemas.microsoft.com/office/powerpoint/2010/main" val="19478083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0" i="0" baseline="0">
                <a:solidFill>
                  <a:schemeClr val="tx1"/>
                </a:solidFill>
                <a:latin typeface="CiscoSans ExtraLight" charset="0"/>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4" y="3895663"/>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b="0" i="0">
                <a:solidFill>
                  <a:schemeClr val="bg1"/>
                </a:solidFill>
                <a:latin typeface="CiscoSans ExtraLight" charset="0"/>
              </a:defRPr>
            </a:lvl1pPr>
          </a:lstStyle>
          <a:p>
            <a:pPr lvl="0"/>
            <a:r>
              <a:rPr lang="en-US" dirty="0"/>
              <a:t>Click to edit Master text styles</a:t>
            </a:r>
          </a:p>
        </p:txBody>
      </p:sp>
    </p:spTree>
    <p:extLst>
      <p:ext uri="{BB962C8B-B14F-4D97-AF65-F5344CB8AC3E}">
        <p14:creationId xmlns:p14="http://schemas.microsoft.com/office/powerpoint/2010/main" val="26825795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0" i="0" baseline="0">
                <a:solidFill>
                  <a:schemeClr val="tx1"/>
                </a:solidFill>
                <a:latin typeface="CiscoSans ExtraLight" charset="0"/>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0" i="0" baseline="0">
                <a:solidFill>
                  <a:schemeClr val="tx2"/>
                </a:solidFill>
                <a:latin typeface="CiscoSans ExtraLight" charset="0"/>
              </a:defRPr>
            </a:lvl1pPr>
          </a:lstStyle>
          <a:p>
            <a:pPr lvl="0"/>
            <a:r>
              <a:rPr lang="en-US" dirty="0"/>
              <a:t>Click to edit Master text styles</a:t>
            </a:r>
          </a:p>
        </p:txBody>
      </p:sp>
    </p:spTree>
    <p:extLst>
      <p:ext uri="{BB962C8B-B14F-4D97-AF65-F5344CB8AC3E}">
        <p14:creationId xmlns:p14="http://schemas.microsoft.com/office/powerpoint/2010/main" val="2214567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0" i="0" baseline="0">
                <a:solidFill>
                  <a:schemeClr val="tx1"/>
                </a:solidFill>
                <a:latin typeface="CiscoSans ExtraLight" charset="0"/>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7936413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5"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BCEB">
                    <a:alpha val="60000"/>
                  </a:srgbClr>
                </a:solidFill>
                <a:latin typeface="CiscoSans ExtraLight" charset="0"/>
                <a:ea typeface=""/>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0" i="0" baseline="0">
                <a:solidFill>
                  <a:schemeClr val="tx1"/>
                </a:solidFill>
                <a:latin typeface="CiscoSans ExtraLight" charset="0"/>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6181913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CiscoSans ExtraLight" charset="0"/>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CiscoSans ExtraLight" charset="0"/>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CiscoSans ExtraLight" charset="0"/>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CiscoSans ExtraLight" charset="0"/>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CiscoSans ExtraLight" charset="0"/>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7263273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CiscoSans ExtraLight" charset="0"/>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CiscoSans ExtraLight" charset="0"/>
                <a:cs typeface="CiscoSans ExtraLight"/>
              </a:defRPr>
            </a:lvl2pPr>
            <a:lvl3pPr marL="403215" indent="-114297">
              <a:buClr>
                <a:schemeClr val="tx1"/>
              </a:buClr>
              <a:buSzPct val="60000"/>
              <a:buFont typeface="Arial"/>
              <a:buChar char="•"/>
              <a:defRPr sz="1600" b="0" i="0">
                <a:solidFill>
                  <a:schemeClr val="tx1"/>
                </a:solidFill>
                <a:latin typeface="CiscoSans ExtraLight" charset="0"/>
                <a:cs typeface="CiscoSans ExtraLight"/>
              </a:defRPr>
            </a:lvl3pPr>
            <a:lvl4pPr marL="517512" indent="-114297">
              <a:buClr>
                <a:schemeClr val="tx1"/>
              </a:buClr>
              <a:buSzPct val="60000"/>
              <a:buFont typeface="Arial"/>
              <a:buChar char="•"/>
              <a:defRPr sz="1400" b="0" i="0">
                <a:solidFill>
                  <a:schemeClr val="tx1"/>
                </a:solidFill>
                <a:latin typeface="CiscoSans ExtraLight" charset="0"/>
                <a:cs typeface="CiscoSans ExtraLight"/>
              </a:defRPr>
            </a:lvl4pPr>
            <a:lvl5pPr marL="631809" indent="-114297">
              <a:buClr>
                <a:schemeClr val="tx1"/>
              </a:buClr>
              <a:buSzPct val="60000"/>
              <a:buFont typeface="Arial"/>
              <a:buChar char="•"/>
              <a:defRPr sz="1200" b="0" i="0">
                <a:solidFill>
                  <a:schemeClr val="tx1"/>
                </a:solidFill>
                <a:latin typeface="CiscoSans ExtraLight" charset="0"/>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CiscoSans ExtraLight" charset="0"/>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CiscoSans ExtraLight" charset="0"/>
                <a:cs typeface="CiscoSans ExtraLight"/>
              </a:defRPr>
            </a:lvl2pPr>
            <a:lvl3pPr marL="403215" indent="-114297">
              <a:buClr>
                <a:schemeClr val="tx1"/>
              </a:buClr>
              <a:buSzPct val="60000"/>
              <a:buFont typeface="Arial"/>
              <a:buChar char="•"/>
              <a:defRPr sz="1600" b="0" i="0">
                <a:solidFill>
                  <a:schemeClr val="tx1"/>
                </a:solidFill>
                <a:latin typeface="CiscoSans ExtraLight" charset="0"/>
                <a:cs typeface="CiscoSans ExtraLight"/>
              </a:defRPr>
            </a:lvl3pPr>
            <a:lvl4pPr marL="517512" indent="-114297">
              <a:buClr>
                <a:schemeClr val="tx1"/>
              </a:buClr>
              <a:buSzPct val="60000"/>
              <a:buFont typeface="Arial"/>
              <a:buChar char="•"/>
              <a:defRPr sz="1400" b="0" i="0">
                <a:solidFill>
                  <a:schemeClr val="tx1"/>
                </a:solidFill>
                <a:latin typeface="CiscoSans ExtraLight" charset="0"/>
                <a:cs typeface="CiscoSans ExtraLight"/>
              </a:defRPr>
            </a:lvl4pPr>
            <a:lvl5pPr marL="631809" indent="-114297">
              <a:buClr>
                <a:schemeClr val="tx1"/>
              </a:buClr>
              <a:buSzPct val="60000"/>
              <a:buFont typeface="Arial"/>
              <a:buChar char="•"/>
              <a:defRPr sz="1200" b="0" i="0">
                <a:solidFill>
                  <a:schemeClr val="tx1"/>
                </a:solidFill>
                <a:latin typeface="CiscoSans ExtraLight" charset="0"/>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92296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02925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1778216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6525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0" i="0" baseline="0">
                <a:solidFill>
                  <a:schemeClr val="tx1"/>
                </a:solidFill>
                <a:latin typeface="CiscoSans ExtraLight" charset="0"/>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CiscoSans ExtraLight"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217951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CiscoSans ExtraLight" charset="0"/>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CiscoSans ExtraLight"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0627990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CiscoSans ExtraLight" charset="0"/>
                <a:cs typeface="CiscoSans ExtraLight"/>
              </a:defRPr>
            </a:lvl1pPr>
          </a:lstStyle>
          <a:p>
            <a:pPr lvl="0"/>
            <a:r>
              <a:rPr lang="en-US" dirty="0"/>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769935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CiscoSans ExtraLight" charset="0"/>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CiscoSans ExtraLight" charset="0"/>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CiscoSans ExtraLight" charset="0"/>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CiscoSans ExtraLight" charset="0"/>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CiscoSans ExtraLight" charset="0"/>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3956247799"/>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4563909"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b="0" i="0">
                <a:latin typeface="CiscoSans ExtraLight" charset="0"/>
              </a:defRPr>
            </a:lvl1pPr>
            <a:lvl2pPr marL="346067" indent="-171446">
              <a:lnSpc>
                <a:spcPct val="100000"/>
              </a:lnSpc>
              <a:buClr>
                <a:schemeClr val="tx1"/>
              </a:buClr>
              <a:buSzPct val="60000"/>
              <a:buFont typeface="Arial" panose="020B0604020202020204" pitchFamily="34" charset="0"/>
              <a:buChar char="•"/>
              <a:defRPr sz="2400" b="0" i="0">
                <a:latin typeface="CiscoSans ExtraLight" charset="0"/>
              </a:defRPr>
            </a:lvl2pPr>
            <a:lvl3pPr marL="457189" indent="-117472">
              <a:lnSpc>
                <a:spcPct val="100000"/>
              </a:lnSpc>
              <a:buClr>
                <a:schemeClr val="tx1"/>
              </a:buClr>
              <a:buSzPct val="60000"/>
              <a:buFont typeface="Arial" panose="020B0604020202020204" pitchFamily="34" charset="0"/>
              <a:buChar char="•"/>
              <a:defRPr sz="2000" b="0" i="0">
                <a:latin typeface="CiscoSans ExtraLight" charset="0"/>
              </a:defRPr>
            </a:lvl3pPr>
            <a:lvl4pPr marL="574661" indent="-117472">
              <a:lnSpc>
                <a:spcPct val="100000"/>
              </a:lnSpc>
              <a:buClr>
                <a:schemeClr val="tx1"/>
              </a:buClr>
              <a:buSzPct val="60000"/>
              <a:buFont typeface="Arial" panose="020B0604020202020204" pitchFamily="34" charset="0"/>
              <a:buChar char="•"/>
              <a:tabLst/>
              <a:defRPr sz="1800" b="0" i="0">
                <a:latin typeface="CiscoSans ExtraLight" charset="0"/>
              </a:defRPr>
            </a:lvl4pPr>
            <a:lvl5pPr marL="744520" indent="-112710">
              <a:lnSpc>
                <a:spcPct val="100000"/>
              </a:lnSpc>
              <a:buClr>
                <a:schemeClr val="tx1"/>
              </a:buClr>
              <a:buSzPct val="60000"/>
              <a:buFont typeface="Arial" panose="020B0604020202020204" pitchFamily="34" charset="0"/>
              <a:buChar char="•"/>
              <a:defRPr sz="1800" b="0" i="0">
                <a:latin typeface="CiscoSans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200733197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b="0" i="0">
                <a:latin typeface="CiscoSans ExtraLight" charset="0"/>
              </a:defRPr>
            </a:lvl1pPr>
            <a:lvl2pPr marL="228594" indent="-114297">
              <a:lnSpc>
                <a:spcPct val="100000"/>
              </a:lnSpc>
              <a:buClr>
                <a:schemeClr val="tx1"/>
              </a:buClr>
              <a:buSzPct val="60000"/>
              <a:defRPr sz="2000" b="0" i="0">
                <a:latin typeface="CiscoSans ExtraLight" charset="0"/>
              </a:defRPr>
            </a:lvl2pPr>
            <a:lvl3pPr marL="342892" indent="-114297">
              <a:lnSpc>
                <a:spcPct val="100000"/>
              </a:lnSpc>
              <a:buClr>
                <a:schemeClr val="tx1"/>
              </a:buClr>
              <a:buSzPct val="60000"/>
              <a:defRPr sz="1800" b="0" i="0">
                <a:latin typeface="CiscoSans ExtraLight" charset="0"/>
              </a:defRPr>
            </a:lvl3pPr>
            <a:lvl4pPr marL="457189" indent="-123822">
              <a:lnSpc>
                <a:spcPct val="100000"/>
              </a:lnSpc>
              <a:buClr>
                <a:schemeClr val="tx1"/>
              </a:buClr>
              <a:buSzPct val="60000"/>
              <a:defRPr sz="1600" b="0" i="0">
                <a:latin typeface="CiscoSans ExtraLight" charset="0"/>
              </a:defRPr>
            </a:lvl4pPr>
            <a:lvl5pPr marL="574661" indent="-117472">
              <a:lnSpc>
                <a:spcPct val="100000"/>
              </a:lnSpc>
              <a:buClr>
                <a:schemeClr val="tx1"/>
              </a:buClr>
              <a:buSzPct val="60000"/>
              <a:defRPr sz="1600" b="0" i="0">
                <a:latin typeface="CiscoSans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b="0" i="0" kern="1200" dirty="0" smtClean="0">
                <a:solidFill>
                  <a:schemeClr val="bg1"/>
                </a:solidFill>
                <a:latin typeface="CiscoSans ExtraLight" charset="0"/>
                <a:ea typeface="ＭＳ Ｐゴシック" charset="0"/>
                <a:cs typeface="CiscoSans"/>
              </a:defRPr>
            </a:lvl1pPr>
            <a:lvl2pPr marL="228594" indent="-114297">
              <a:buClr>
                <a:schemeClr val="tx2"/>
              </a:buClr>
              <a:buSzPct val="60000"/>
              <a:defRPr sz="2000" b="0" i="0">
                <a:solidFill>
                  <a:schemeClr val="bg1"/>
                </a:solidFill>
                <a:latin typeface="CiscoSans ExtraLight" charset="0"/>
              </a:defRPr>
            </a:lvl2pPr>
            <a:lvl3pPr marL="342892" indent="-114297">
              <a:buClr>
                <a:schemeClr val="tx2"/>
              </a:buClr>
              <a:buSzPct val="60000"/>
              <a:defRPr sz="1800" b="0" i="0">
                <a:solidFill>
                  <a:schemeClr val="bg1"/>
                </a:solidFill>
                <a:latin typeface="CiscoSans ExtraLight" charset="0"/>
              </a:defRPr>
            </a:lvl3pPr>
            <a:lvl4pPr marL="457189" indent="-123822">
              <a:buClr>
                <a:schemeClr val="tx2"/>
              </a:buClr>
              <a:buSzPct val="60000"/>
              <a:defRPr sz="1600" b="0" i="0">
                <a:solidFill>
                  <a:schemeClr val="bg1"/>
                </a:solidFill>
                <a:latin typeface="CiscoSans ExtraLight" charset="0"/>
              </a:defRPr>
            </a:lvl4pPr>
            <a:lvl5pPr marL="574661" indent="-117472">
              <a:buClr>
                <a:schemeClr val="tx2"/>
              </a:buClr>
              <a:buSzPct val="60000"/>
              <a:defRPr sz="1600" b="0" i="0">
                <a:solidFill>
                  <a:schemeClr val="bg1"/>
                </a:solidFill>
                <a:latin typeface="CiscoSans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18838936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5073"/>
              </a:solidFill>
              <a:latin typeface="CiscoSans ExtraLight" charset="0"/>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b="0" i="0">
                <a:latin typeface="CiscoSans ExtraLight" charset="0"/>
              </a:defRPr>
            </a:lvl1pPr>
          </a:lstStyle>
          <a:p>
            <a:endParaRPr lang="en-US" dirty="0"/>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b="0" i="0">
                <a:latin typeface="CiscoSans ExtraLight" charset="0"/>
              </a:defRPr>
            </a:lvl1pPr>
          </a:lstStyle>
          <a:p>
            <a:pPr lvl="0"/>
            <a:r>
              <a:rPr lang="en-US" dirty="0"/>
              <a:t>Click to edit Master text styles</a:t>
            </a:r>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113745002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00BCEB"/>
              </a:solidFill>
              <a:latin typeface="CiscoSans ExtraLight" charset="0"/>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b="0" i="0" kern="1200" dirty="0">
                <a:solidFill>
                  <a:schemeClr val="bg1"/>
                </a:solidFill>
                <a:latin typeface="CiscoSans ExtraLight" charset="0"/>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b="0" i="0">
                <a:latin typeface="CiscoSans ExtraLight" charset="0"/>
              </a:defRPr>
            </a:lvl1pPr>
          </a:lstStyle>
          <a:p>
            <a:endParaRPr lang="en-US" dirty="0"/>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solidFill>
                <a:latin typeface="CiscoSans ExtraLight" charset="0"/>
                <a:cs typeface="CiscoSans Thin"/>
              </a:rPr>
              <a:t>© 2017  Cisco and/or its affiliates. All rights reserved.   Cisco Confidential</a:t>
            </a:r>
          </a:p>
        </p:txBody>
      </p:sp>
    </p:spTree>
    <p:extLst>
      <p:ext uri="{BB962C8B-B14F-4D97-AF65-F5344CB8AC3E}">
        <p14:creationId xmlns:p14="http://schemas.microsoft.com/office/powerpoint/2010/main" val="425978623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1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6" Type="http://schemas.openxmlformats.org/officeDocument/2006/relationships/slideLayout" Target="../slideLayouts/slideLayout156.xml"/><Relationship Id="rId21" Type="http://schemas.openxmlformats.org/officeDocument/2006/relationships/slideLayout" Target="../slideLayouts/slideLayout151.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63" Type="http://schemas.openxmlformats.org/officeDocument/2006/relationships/slideLayout" Target="../slideLayouts/slideLayout193.xml"/><Relationship Id="rId68" Type="http://schemas.openxmlformats.org/officeDocument/2006/relationships/slideLayout" Target="../slideLayouts/slideLayout198.xml"/><Relationship Id="rId16" Type="http://schemas.openxmlformats.org/officeDocument/2006/relationships/slideLayout" Target="../slideLayouts/slideLayout146.xml"/><Relationship Id="rId11" Type="http://schemas.openxmlformats.org/officeDocument/2006/relationships/slideLayout" Target="../slideLayouts/slideLayout141.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74" Type="http://schemas.openxmlformats.org/officeDocument/2006/relationships/slideLayout" Target="../slideLayouts/slideLayout204.xml"/><Relationship Id="rId79" Type="http://schemas.openxmlformats.org/officeDocument/2006/relationships/slideLayout" Target="../slideLayouts/slideLayout209.xml"/><Relationship Id="rId5" Type="http://schemas.openxmlformats.org/officeDocument/2006/relationships/slideLayout" Target="../slideLayouts/slideLayout135.xml"/><Relationship Id="rId61" Type="http://schemas.openxmlformats.org/officeDocument/2006/relationships/slideLayout" Target="../slideLayouts/slideLayout191.xml"/><Relationship Id="rId82" Type="http://schemas.openxmlformats.org/officeDocument/2006/relationships/theme" Target="../theme/theme16.xml"/><Relationship Id="rId19" Type="http://schemas.openxmlformats.org/officeDocument/2006/relationships/slideLayout" Target="../slideLayouts/slideLayout14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64" Type="http://schemas.openxmlformats.org/officeDocument/2006/relationships/slideLayout" Target="../slideLayouts/slideLayout194.xml"/><Relationship Id="rId69" Type="http://schemas.openxmlformats.org/officeDocument/2006/relationships/slideLayout" Target="../slideLayouts/slideLayout199.xml"/><Relationship Id="rId77" Type="http://schemas.openxmlformats.org/officeDocument/2006/relationships/slideLayout" Target="../slideLayouts/slideLayout207.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72" Type="http://schemas.openxmlformats.org/officeDocument/2006/relationships/slideLayout" Target="../slideLayouts/slideLayout202.xml"/><Relationship Id="rId80" Type="http://schemas.openxmlformats.org/officeDocument/2006/relationships/slideLayout" Target="../slideLayouts/slideLayout210.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slideLayout" Target="../slideLayouts/slideLayout189.xml"/><Relationship Id="rId67" Type="http://schemas.openxmlformats.org/officeDocument/2006/relationships/slideLayout" Target="../slideLayouts/slideLayout197.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62" Type="http://schemas.openxmlformats.org/officeDocument/2006/relationships/slideLayout" Target="../slideLayouts/slideLayout192.xml"/><Relationship Id="rId70" Type="http://schemas.openxmlformats.org/officeDocument/2006/relationships/slideLayout" Target="../slideLayouts/slideLayout200.xml"/><Relationship Id="rId75" Type="http://schemas.openxmlformats.org/officeDocument/2006/relationships/slideLayout" Target="../slideLayouts/slideLayout205.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 Id="rId60" Type="http://schemas.openxmlformats.org/officeDocument/2006/relationships/slideLayout" Target="../slideLayouts/slideLayout190.xml"/><Relationship Id="rId65" Type="http://schemas.openxmlformats.org/officeDocument/2006/relationships/slideLayout" Target="../slideLayouts/slideLayout195.xml"/><Relationship Id="rId73" Type="http://schemas.openxmlformats.org/officeDocument/2006/relationships/slideLayout" Target="../slideLayouts/slideLayout203.xml"/><Relationship Id="rId78" Type="http://schemas.openxmlformats.org/officeDocument/2006/relationships/slideLayout" Target="../slideLayouts/slideLayout208.xml"/><Relationship Id="rId81" Type="http://schemas.openxmlformats.org/officeDocument/2006/relationships/slideLayout" Target="../slideLayouts/slideLayout21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9" Type="http://schemas.openxmlformats.org/officeDocument/2006/relationships/slideLayout" Target="../slideLayouts/slideLayout169.xml"/><Relationship Id="rId34" Type="http://schemas.openxmlformats.org/officeDocument/2006/relationships/slideLayout" Target="../slideLayouts/slideLayout164.xml"/><Relationship Id="rId50" Type="http://schemas.openxmlformats.org/officeDocument/2006/relationships/slideLayout" Target="../slideLayouts/slideLayout180.xml"/><Relationship Id="rId55" Type="http://schemas.openxmlformats.org/officeDocument/2006/relationships/slideLayout" Target="../slideLayouts/slideLayout185.xml"/><Relationship Id="rId76" Type="http://schemas.openxmlformats.org/officeDocument/2006/relationships/slideLayout" Target="../slideLayouts/slideLayout206.xml"/><Relationship Id="rId7" Type="http://schemas.openxmlformats.org/officeDocument/2006/relationships/slideLayout" Target="../slideLayouts/slideLayout137.xml"/><Relationship Id="rId71" Type="http://schemas.openxmlformats.org/officeDocument/2006/relationships/slideLayout" Target="../slideLayouts/slideLayout201.xml"/><Relationship Id="rId2" Type="http://schemas.openxmlformats.org/officeDocument/2006/relationships/slideLayout" Target="../slideLayouts/slideLayout132.xml"/><Relationship Id="rId29" Type="http://schemas.openxmlformats.org/officeDocument/2006/relationships/slideLayout" Target="../slideLayouts/slideLayout159.xml"/><Relationship Id="rId24" Type="http://schemas.openxmlformats.org/officeDocument/2006/relationships/slideLayout" Target="../slideLayouts/slideLayout154.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66" Type="http://schemas.openxmlformats.org/officeDocument/2006/relationships/slideLayout" Target="../slideLayouts/slideLayout19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image" Target="../media/image1.emf"/><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theme" Target="../theme/theme18.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 Id="rId8" Type="http://schemas.openxmlformats.org/officeDocument/2006/relationships/slideLayout" Target="../slideLayouts/slideLayout245.xml"/><Relationship Id="rId3" Type="http://schemas.openxmlformats.org/officeDocument/2006/relationships/slideLayout" Target="../slideLayouts/slideLayout240.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9" Type="http://schemas.openxmlformats.org/officeDocument/2006/relationships/slideLayout" Target="../slideLayouts/slideLayout313.xml"/><Relationship Id="rId21" Type="http://schemas.openxmlformats.org/officeDocument/2006/relationships/slideLayout" Target="../slideLayouts/slideLayout295.xml"/><Relationship Id="rId34" Type="http://schemas.openxmlformats.org/officeDocument/2006/relationships/slideLayout" Target="../slideLayouts/slideLayout308.xml"/><Relationship Id="rId7" Type="http://schemas.openxmlformats.org/officeDocument/2006/relationships/slideLayout" Target="../slideLayouts/slideLayout28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slideLayout" Target="../slideLayouts/slideLayout303.xml"/><Relationship Id="rId41" Type="http://schemas.openxmlformats.org/officeDocument/2006/relationships/image" Target="../media/image1.emf"/><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slideLayout" Target="../slideLayouts/slideLayout306.xml"/><Relationship Id="rId37" Type="http://schemas.openxmlformats.org/officeDocument/2006/relationships/slideLayout" Target="../slideLayouts/slideLayout311.xml"/><Relationship Id="rId40" Type="http://schemas.openxmlformats.org/officeDocument/2006/relationships/theme" Target="../theme/theme19.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36" Type="http://schemas.openxmlformats.org/officeDocument/2006/relationships/slideLayout" Target="../slideLayouts/slideLayout310.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slideLayout" Target="../slideLayouts/slideLayout305.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 Id="rId35" Type="http://schemas.openxmlformats.org/officeDocument/2006/relationships/slideLayout" Target="../slideLayouts/slideLayout309.xml"/><Relationship Id="rId8" Type="http://schemas.openxmlformats.org/officeDocument/2006/relationships/slideLayout" Target="../slideLayouts/slideLayout282.xml"/><Relationship Id="rId3" Type="http://schemas.openxmlformats.org/officeDocument/2006/relationships/slideLayout" Target="../slideLayouts/slideLayout277.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slideLayout" Target="../slideLayouts/slideLayout307.xml"/><Relationship Id="rId38" Type="http://schemas.openxmlformats.org/officeDocument/2006/relationships/slideLayout" Target="../slideLayouts/slideLayout31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slideLayout" Target="../slideLayouts/slideLayout339.xml"/><Relationship Id="rId39" Type="http://schemas.openxmlformats.org/officeDocument/2006/relationships/slideLayout" Target="../slideLayouts/slideLayout352.xml"/><Relationship Id="rId21" Type="http://schemas.openxmlformats.org/officeDocument/2006/relationships/slideLayout" Target="../slideLayouts/slideLayout334.xml"/><Relationship Id="rId34" Type="http://schemas.openxmlformats.org/officeDocument/2006/relationships/slideLayout" Target="../slideLayouts/slideLayout347.xml"/><Relationship Id="rId7" Type="http://schemas.openxmlformats.org/officeDocument/2006/relationships/slideLayout" Target="../slideLayouts/slideLayout32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slideLayout" Target="../slideLayouts/slideLayout342.xml"/><Relationship Id="rId41" Type="http://schemas.openxmlformats.org/officeDocument/2006/relationships/image" Target="../media/image1.emf"/><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slideLayout" Target="../slideLayouts/slideLayout345.xml"/><Relationship Id="rId37" Type="http://schemas.openxmlformats.org/officeDocument/2006/relationships/slideLayout" Target="../slideLayouts/slideLayout350.xml"/><Relationship Id="rId40" Type="http://schemas.openxmlformats.org/officeDocument/2006/relationships/theme" Target="../theme/theme20.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slideLayout" Target="../slideLayouts/slideLayout341.xml"/><Relationship Id="rId36" Type="http://schemas.openxmlformats.org/officeDocument/2006/relationships/slideLayout" Target="../slideLayouts/slideLayout349.xml"/><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slideLayout" Target="../slideLayouts/slideLayout344.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slideLayout" Target="../slideLayouts/slideLayout340.xml"/><Relationship Id="rId30" Type="http://schemas.openxmlformats.org/officeDocument/2006/relationships/slideLayout" Target="../slideLayouts/slideLayout343.xml"/><Relationship Id="rId35" Type="http://schemas.openxmlformats.org/officeDocument/2006/relationships/slideLayout" Target="../slideLayouts/slideLayout348.xml"/><Relationship Id="rId8" Type="http://schemas.openxmlformats.org/officeDocument/2006/relationships/slideLayout" Target="../slideLayouts/slideLayout321.xml"/><Relationship Id="rId3" Type="http://schemas.openxmlformats.org/officeDocument/2006/relationships/slideLayout" Target="../slideLayouts/slideLayout316.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slideLayout" Target="../slideLayouts/slideLayout338.xml"/><Relationship Id="rId33" Type="http://schemas.openxmlformats.org/officeDocument/2006/relationships/slideLayout" Target="../slideLayouts/slideLayout346.xml"/><Relationship Id="rId38" Type="http://schemas.openxmlformats.org/officeDocument/2006/relationships/slideLayout" Target="../slideLayouts/slideLayout35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10" Type="http://schemas.openxmlformats.org/officeDocument/2006/relationships/image" Target="../media/image1.emf"/><Relationship Id="rId4" Type="http://schemas.openxmlformats.org/officeDocument/2006/relationships/slideLayout" Target="../slideLayouts/slideLayout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16.xml"/><Relationship Id="rId7"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8.xml"/><Relationship Id="rId1" Type="http://schemas.openxmlformats.org/officeDocument/2006/relationships/slideLayout" Target="../slideLayouts/slideLayout17.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201168"/>
            <a:ext cx="8345488" cy="53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8" name="Rectangle 4">
            <a:extLst>
              <a:ext uri="{FF2B5EF4-FFF2-40B4-BE49-F238E27FC236}">
                <a16:creationId xmlns:a16="http://schemas.microsoft.com/office/drawing/2014/main" id="{A6B9956F-2D22-684C-A07D-9EBC5989D35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Cisco Confidential</a:t>
            </a:r>
          </a:p>
        </p:txBody>
      </p:sp>
    </p:spTree>
    <p:extLst>
      <p:ext uri="{BB962C8B-B14F-4D97-AF65-F5344CB8AC3E}">
        <p14:creationId xmlns:p14="http://schemas.microsoft.com/office/powerpoint/2010/main" val="2236324060"/>
      </p:ext>
    </p:extLst>
  </p:cSld>
  <p:clrMap bg1="lt1" tx1="dk1" bg2="lt2" tx2="dk2" accent1="accent1" accent2="accent2" accent3="accent3" accent4="accent4" accent5="accent5" accent6="accent6" hlink="hlink" folHlink="folHlink"/>
  <p:sldLayoutIdLst>
    <p:sldLayoutId id="2147484417" r:id="rId1"/>
  </p:sldLayoutIdLst>
  <p:txStyles>
    <p:titleStyle>
      <a:lvl1pPr algn="l" defTabSz="684213" rtl="0" eaLnBrk="1" fontAlgn="base" hangingPunct="1">
        <a:lnSpc>
          <a:spcPct val="80000"/>
        </a:lnSpc>
        <a:spcBef>
          <a:spcPct val="0"/>
        </a:spcBef>
        <a:spcAft>
          <a:spcPct val="0"/>
        </a:spcAft>
        <a:defRPr lang="en-US" sz="2800" b="0" i="0" u="none" kern="1200" baseline="0" dirty="0">
          <a:solidFill>
            <a:schemeClr val="tx2"/>
          </a:solidFill>
          <a:latin typeface="CiscoSansTT" panose="020B0503020201020303" pitchFamily="34" charset="0"/>
          <a:ea typeface="CiscoSansTT" panose="020B0503020201020303" pitchFamily="34" charset="0"/>
          <a:cs typeface="CiscoSansT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4">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201168"/>
            <a:ext cx="8345488" cy="53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8" name="Rectangle 4">
            <a:extLst>
              <a:ext uri="{FF2B5EF4-FFF2-40B4-BE49-F238E27FC236}">
                <a16:creationId xmlns:a16="http://schemas.microsoft.com/office/drawing/2014/main" id="{A6B9956F-2D22-684C-A07D-9EBC5989D35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Cisco Confidential</a:t>
            </a:r>
          </a:p>
        </p:txBody>
      </p:sp>
    </p:spTree>
    <p:extLst>
      <p:ext uri="{BB962C8B-B14F-4D97-AF65-F5344CB8AC3E}">
        <p14:creationId xmlns:p14="http://schemas.microsoft.com/office/powerpoint/2010/main" val="2732438812"/>
      </p:ext>
    </p:extLst>
  </p:cSld>
  <p:clrMap bg1="lt1" tx1="dk1" bg2="lt2" tx2="dk2" accent1="accent1" accent2="accent2" accent3="accent3" accent4="accent4" accent5="accent5" accent6="accent6" hlink="hlink" folHlink="folHlink"/>
  <p:sldLayoutIdLst>
    <p:sldLayoutId id="2147484182" r:id="rId1"/>
    <p:sldLayoutId id="2147484947" r:id="rId2"/>
  </p:sldLayoutIdLst>
  <p:txStyles>
    <p:titleStyle>
      <a:lvl1pPr algn="l" defTabSz="684213" rtl="0" eaLnBrk="1" fontAlgn="base" hangingPunct="1">
        <a:lnSpc>
          <a:spcPct val="80000"/>
        </a:lnSpc>
        <a:spcBef>
          <a:spcPct val="0"/>
        </a:spcBef>
        <a:spcAft>
          <a:spcPct val="0"/>
        </a:spcAft>
        <a:defRPr lang="en-US" sz="2800" b="0" i="0" u="none" kern="1200" baseline="0" dirty="0">
          <a:solidFill>
            <a:schemeClr val="tx2"/>
          </a:solidFill>
          <a:latin typeface="CiscoSansTT" panose="020B0503020201020303" pitchFamily="34" charset="0"/>
          <a:ea typeface="CiscoSansTT" panose="020B0503020201020303" pitchFamily="34" charset="0"/>
          <a:cs typeface="CiscoSansT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4">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Cisco Confidential</a:t>
            </a:r>
          </a:p>
        </p:txBody>
      </p:sp>
      <p:sp>
        <p:nvSpPr>
          <p:cNvPr id="4" name="Rectangle 7"/>
          <p:cNvSpPr>
            <a:spLocks noChangeArrowheads="1"/>
          </p:cNvSpPr>
          <p:nvPr userDrawn="1"/>
        </p:nvSpPr>
        <p:spPr bwMode="ltGray">
          <a:xfrm>
            <a:off x="8515708" y="4742908"/>
            <a:ext cx="221837" cy="154518"/>
          </a:xfrm>
          <a:prstGeom prst="rect">
            <a:avLst/>
          </a:prstGeom>
          <a:noFill/>
          <a:ln w="9525" algn="ctr">
            <a:noFill/>
            <a:miter lim="800000"/>
            <a:headEnd/>
            <a:tailEnd/>
          </a:ln>
          <a:effectLst/>
        </p:spPr>
        <p:txBody>
          <a:bodyPr wrap="none" lIns="61586" tIns="30792" rIns="61586" bIns="30792" anchor="b">
            <a:spAutoFit/>
          </a:bodyPr>
          <a:lstStyle/>
          <a:p>
            <a:pPr algn="l"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l"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Tree>
    <p:extLst>
      <p:ext uri="{BB962C8B-B14F-4D97-AF65-F5344CB8AC3E}">
        <p14:creationId xmlns:p14="http://schemas.microsoft.com/office/powerpoint/2010/main" val="1665476240"/>
      </p:ext>
    </p:extLst>
  </p:cSld>
  <p:clrMap bg1="lt1" tx1="dk1" bg2="lt2" tx2="dk2" accent1="accent1" accent2="accent2" accent3="accent3" accent4="accent4" accent5="accent5" accent6="accent6" hlink="hlink" folHlink="folHlink"/>
  <p:sldLayoutIdLst>
    <p:sldLayoutId id="2147483742" r:id="rId1"/>
  </p:sldLayoutIdLst>
  <p:txStyles>
    <p:titleStyle>
      <a:lvl1pPr algn="l" defTabSz="684196" rtl="0" eaLnBrk="1" fontAlgn="base" hangingPunct="1">
        <a:lnSpc>
          <a:spcPct val="80000"/>
        </a:lnSpc>
        <a:spcBef>
          <a:spcPct val="0"/>
        </a:spcBef>
        <a:spcAft>
          <a:spcPct val="0"/>
        </a:spcAft>
        <a:defRPr lang="en-US" sz="2800" b="0" i="0" u="none" kern="1200" dirty="0">
          <a:solidFill>
            <a:schemeClr val="bg1"/>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9" userDrawn="1">
          <p15:clr>
            <a:srgbClr val="F26B43"/>
          </p15:clr>
        </p15:guide>
        <p15:guide id="2" pos="252" userDrawn="1">
          <p15:clr>
            <a:srgbClr val="F26B43"/>
          </p15:clr>
        </p15:guide>
        <p15:guide id="3" pos="4086" userDrawn="1">
          <p15:clr>
            <a:srgbClr val="F26B43"/>
          </p15:clr>
        </p15:guide>
        <p15:guide id="4" orient="horz" pos="568" userDrawn="1">
          <p15:clr>
            <a:srgbClr val="F26B43"/>
          </p15:clr>
        </p15:guide>
        <p15:guide id="5" orient="horz" pos="251" userDrawn="1">
          <p15:clr>
            <a:srgbClr val="F26B43"/>
          </p15:clr>
        </p15:guide>
        <p15:guide id="6" pos="2157" userDrawn="1">
          <p15:clr>
            <a:srgbClr val="F26B43"/>
          </p15:clr>
        </p15:guide>
        <p15:guide id="7" orient="horz" pos="782"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514465823"/>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 id="2147484655" r:id="rId18"/>
    <p:sldLayoutId id="2147484656" r:id="rId19"/>
    <p:sldLayoutId id="2147484657" r:id="rId20"/>
    <p:sldLayoutId id="2147484658" r:id="rId21"/>
    <p:sldLayoutId id="2147484659" r:id="rId22"/>
    <p:sldLayoutId id="2147484660" r:id="rId23"/>
    <p:sldLayoutId id="2147484661" r:id="rId24"/>
    <p:sldLayoutId id="2147484662" r:id="rId25"/>
    <p:sldLayoutId id="2147484663" r:id="rId26"/>
    <p:sldLayoutId id="2147484665" r:id="rId27"/>
    <p:sldLayoutId id="2147484666" r:id="rId28"/>
    <p:sldLayoutId id="2147484667" r:id="rId29"/>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2927833576"/>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3946937825"/>
      </p:ext>
    </p:extLst>
  </p:cSld>
  <p:clrMap bg1="lt1" tx1="dk1" bg2="lt2" tx2="dk2" accent1="accent1" accent2="accent2" accent3="accent3" accent4="accent4" accent5="accent5" accent6="accent6" hlink="hlink" folHlink="folHlink"/>
  <p:sldLayoutIdLst>
    <p:sldLayoutId id="2147484698" r:id="rId1"/>
    <p:sldLayoutId id="2147484699" r:id="rId2"/>
    <p:sldLayoutId id="2147484700" r:id="rId3"/>
    <p:sldLayoutId id="2147484701" r:id="rId4"/>
    <p:sldLayoutId id="2147484702" r:id="rId5"/>
    <p:sldLayoutId id="2147484703" r:id="rId6"/>
    <p:sldLayoutId id="2147484704" r:id="rId7"/>
    <p:sldLayoutId id="2147484705" r:id="rId8"/>
    <p:sldLayoutId id="2147484706" r:id="rId9"/>
    <p:sldLayoutId id="2147484707" r:id="rId10"/>
    <p:sldLayoutId id="2147484708" r:id="rId11"/>
    <p:sldLayoutId id="2147484709" r:id="rId12"/>
    <p:sldLayoutId id="2147484710" r:id="rId13"/>
    <p:sldLayoutId id="2147484711" r:id="rId14"/>
    <p:sldLayoutId id="2147484712" r:id="rId15"/>
    <p:sldLayoutId id="2147484713" r:id="rId16"/>
    <p:sldLayoutId id="2147484714" r:id="rId17"/>
    <p:sldLayoutId id="2147484715" r:id="rId18"/>
    <p:sldLayoutId id="2147484716" r:id="rId19"/>
    <p:sldLayoutId id="2147484717" r:id="rId20"/>
    <p:sldLayoutId id="2147484718" r:id="rId21"/>
    <p:sldLayoutId id="2147484719" r:id="rId22"/>
    <p:sldLayoutId id="2147484720" r:id="rId23"/>
    <p:sldLayoutId id="2147484721" r:id="rId24"/>
    <p:sldLayoutId id="2147484722" r:id="rId25"/>
    <p:sldLayoutId id="2147484723" r:id="rId26"/>
  </p:sldLayoutIdLst>
  <p:txStyles>
    <p:titleStyle>
      <a:lvl1pPr algn="l" defTabSz="684196" rtl="0" eaLnBrk="1" fontAlgn="base" hangingPunct="1">
        <a:lnSpc>
          <a:spcPct val="80000"/>
        </a:lnSpc>
        <a:spcBef>
          <a:spcPct val="0"/>
        </a:spcBef>
        <a:spcAft>
          <a:spcPct val="0"/>
        </a:spcAft>
        <a:defRPr lang="en-US" sz="2800" b="0" i="0" kern="1200" dirty="0">
          <a:solidFill>
            <a:schemeClr val="tx2"/>
          </a:solidFill>
          <a:latin typeface="CiscoSans ExtraLight" charset="0"/>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00050" y="361355"/>
            <a:ext cx="8345488" cy="340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GB"/>
              <a:t>Title Goes Here</a:t>
            </a:r>
          </a:p>
        </p:txBody>
      </p:sp>
      <p:sp>
        <p:nvSpPr>
          <p:cNvPr id="2" name="Footer Placeholder 1">
            <a:extLst>
              <a:ext uri="{FF2B5EF4-FFF2-40B4-BE49-F238E27FC236}">
                <a16:creationId xmlns:a16="http://schemas.microsoft.com/office/drawing/2014/main" id="{0B05702D-EA35-4179-B6DC-BD684859F012}"/>
              </a:ext>
            </a:extLst>
          </p:cNvPr>
          <p:cNvSpPr>
            <a:spLocks noGrp="1"/>
          </p:cNvSpPr>
          <p:nvPr>
            <p:ph type="ftr" sz="quarter" idx="3"/>
          </p:nvPr>
        </p:nvSpPr>
        <p:spPr>
          <a:xfrm>
            <a:off x="400050" y="4774354"/>
            <a:ext cx="2420534" cy="92333"/>
          </a:xfrm>
          <a:prstGeom prst="rect">
            <a:avLst/>
          </a:prstGeom>
        </p:spPr>
        <p:txBody>
          <a:bodyPr vert="horz" wrap="none" lIns="0" tIns="0" rIns="0" bIns="0" rtlCol="0" anchor="ctr">
            <a:spAutoFit/>
          </a:bodyPr>
          <a:lstStyle>
            <a:lvl1pPr marL="0" marR="0" indent="0" algn="l" defTabSz="685800" rtl="0" eaLnBrk="1" fontAlgn="auto" latinLnBrk="0" hangingPunct="1">
              <a:lnSpc>
                <a:spcPct val="100000"/>
              </a:lnSpc>
              <a:spcBef>
                <a:spcPts val="0"/>
              </a:spcBef>
              <a:spcAft>
                <a:spcPts val="0"/>
              </a:spcAft>
              <a:buClrTx/>
              <a:buSzTx/>
              <a:buFontTx/>
              <a:buNone/>
              <a:tabLst/>
              <a:defRPr lang="en-US" sz="600" kern="1200" spc="20" smtClean="0">
                <a:solidFill>
                  <a:srgbClr val="FFFFFF">
                    <a:lumMod val="65000"/>
                  </a:srgbClr>
                </a:solidFill>
                <a:latin typeface="+mn-lt"/>
                <a:ea typeface="+mn-ea"/>
                <a:cs typeface="CiscoSans Thin"/>
              </a:defRPr>
            </a:lvl1pPr>
          </a:lstStyle>
          <a:p>
            <a:pPr>
              <a:defRPr/>
            </a:pPr>
            <a:r>
              <a:rPr lang="en-US" dirty="0"/>
              <a:t>© 2020 Cisco and/or its affiliates. All rights reserved. Cisco Confidential</a:t>
            </a:r>
          </a:p>
        </p:txBody>
      </p:sp>
    </p:spTree>
    <p:extLst>
      <p:ext uri="{BB962C8B-B14F-4D97-AF65-F5344CB8AC3E}">
        <p14:creationId xmlns:p14="http://schemas.microsoft.com/office/powerpoint/2010/main" val="2580929971"/>
      </p:ext>
    </p:extLst>
  </p:cSld>
  <p:clrMap bg1="lt1" tx1="dk1" bg2="lt2" tx2="dk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 id="2147484731" r:id="rId6"/>
    <p:sldLayoutId id="2147484732" r:id="rId7"/>
    <p:sldLayoutId id="2147484733" r:id="rId8"/>
    <p:sldLayoutId id="2147484734" r:id="rId9"/>
    <p:sldLayoutId id="2147484735" r:id="rId10"/>
    <p:sldLayoutId id="2147484736" r:id="rId11"/>
    <p:sldLayoutId id="2147484737" r:id="rId12"/>
    <p:sldLayoutId id="2147484738" r:id="rId13"/>
    <p:sldLayoutId id="2147484739" r:id="rId14"/>
    <p:sldLayoutId id="2147484740" r:id="rId15"/>
    <p:sldLayoutId id="2147484741" r:id="rId16"/>
    <p:sldLayoutId id="2147484742" r:id="rId17"/>
    <p:sldLayoutId id="2147484743" r:id="rId18"/>
    <p:sldLayoutId id="2147484744" r:id="rId19"/>
    <p:sldLayoutId id="2147484745" r:id="rId20"/>
    <p:sldLayoutId id="2147484746" r:id="rId21"/>
    <p:sldLayoutId id="2147484747" r:id="rId22"/>
    <p:sldLayoutId id="2147484748" r:id="rId23"/>
    <p:sldLayoutId id="2147484749" r:id="rId24"/>
    <p:sldLayoutId id="2147484750" r:id="rId25"/>
    <p:sldLayoutId id="2147484751" r:id="rId26"/>
  </p:sldLayoutIdLst>
  <p:hf sldNum="0" hdr="0" dt="0"/>
  <p:txStyles>
    <p:titleStyle>
      <a:lvl1pPr algn="l" defTabSz="684179" rtl="0" eaLnBrk="1" fontAlgn="base" hangingPunct="1">
        <a:lnSpc>
          <a:spcPct val="80000"/>
        </a:lnSpc>
        <a:spcBef>
          <a:spcPct val="0"/>
        </a:spcBef>
        <a:spcAft>
          <a:spcPct val="0"/>
        </a:spcAft>
        <a:defRPr lang="en-US" sz="2700" b="0" i="0" kern="1200" dirty="0">
          <a:solidFill>
            <a:srgbClr val="1E4471"/>
          </a:solidFill>
          <a:latin typeface="+mj-lt"/>
          <a:ea typeface="CiscoSansTT Thin" charset="0"/>
          <a:cs typeface="CiscoSansTT Thin" charset="0"/>
        </a:defRPr>
      </a:lvl1pPr>
      <a:lvl2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78"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55"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32"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09"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5" indent="-169855" algn="l" defTabSz="684179"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57" indent="-215888" algn="l" defTabSz="684179"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78" indent="-169855" algn="l" defTabSz="684179"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13"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47"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13" indent="-171437" algn="l" defTabSz="685743"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798" indent="-171414" algn="l" defTabSz="685743"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00" indent="0" algn="l" defTabSz="685743"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09" indent="-171437" algn="l" defTabSz="68574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3" rtl="0" eaLnBrk="1" latinLnBrk="0" hangingPunct="1">
        <a:defRPr sz="1400" kern="1200">
          <a:solidFill>
            <a:schemeClr val="tx1"/>
          </a:solidFill>
          <a:latin typeface="+mn-lt"/>
          <a:ea typeface="+mn-ea"/>
          <a:cs typeface="+mn-cs"/>
        </a:defRPr>
      </a:lvl1pPr>
      <a:lvl2pPr marL="342869" algn="l" defTabSz="685743" rtl="0" eaLnBrk="1" latinLnBrk="0" hangingPunct="1">
        <a:defRPr sz="1400" kern="1200">
          <a:solidFill>
            <a:schemeClr val="tx1"/>
          </a:solidFill>
          <a:latin typeface="+mn-lt"/>
          <a:ea typeface="+mn-ea"/>
          <a:cs typeface="+mn-cs"/>
        </a:defRPr>
      </a:lvl2pPr>
      <a:lvl3pPr marL="685743" algn="l" defTabSz="685743" rtl="0" eaLnBrk="1" latinLnBrk="0" hangingPunct="1">
        <a:defRPr sz="1400" kern="1200">
          <a:solidFill>
            <a:schemeClr val="tx1"/>
          </a:solidFill>
          <a:latin typeface="+mn-lt"/>
          <a:ea typeface="+mn-ea"/>
          <a:cs typeface="+mn-cs"/>
        </a:defRPr>
      </a:lvl3pPr>
      <a:lvl4pPr marL="1028613" algn="l" defTabSz="685743" rtl="0" eaLnBrk="1" latinLnBrk="0" hangingPunct="1">
        <a:defRPr sz="1400" kern="1200">
          <a:solidFill>
            <a:schemeClr val="tx1"/>
          </a:solidFill>
          <a:latin typeface="+mn-lt"/>
          <a:ea typeface="+mn-ea"/>
          <a:cs typeface="+mn-cs"/>
        </a:defRPr>
      </a:lvl4pPr>
      <a:lvl5pPr marL="1371487" algn="l" defTabSz="685743" rtl="0" eaLnBrk="1" latinLnBrk="0" hangingPunct="1">
        <a:defRPr sz="1400" kern="1200">
          <a:solidFill>
            <a:schemeClr val="tx1"/>
          </a:solidFill>
          <a:latin typeface="+mn-lt"/>
          <a:ea typeface="+mn-ea"/>
          <a:cs typeface="+mn-cs"/>
        </a:defRPr>
      </a:lvl5pPr>
      <a:lvl6pPr marL="1714355" algn="l" defTabSz="685743" rtl="0" eaLnBrk="1" latinLnBrk="0" hangingPunct="1">
        <a:defRPr sz="1400" kern="1200">
          <a:solidFill>
            <a:schemeClr val="tx1"/>
          </a:solidFill>
          <a:latin typeface="+mn-lt"/>
          <a:ea typeface="+mn-ea"/>
          <a:cs typeface="+mn-cs"/>
        </a:defRPr>
      </a:lvl6pPr>
      <a:lvl7pPr marL="2057230" algn="l" defTabSz="685743" rtl="0" eaLnBrk="1" latinLnBrk="0" hangingPunct="1">
        <a:defRPr sz="1400" kern="1200">
          <a:solidFill>
            <a:schemeClr val="tx1"/>
          </a:solidFill>
          <a:latin typeface="+mn-lt"/>
          <a:ea typeface="+mn-ea"/>
          <a:cs typeface="+mn-cs"/>
        </a:defRPr>
      </a:lvl7pPr>
      <a:lvl8pPr marL="2400100" algn="l" defTabSz="685743" rtl="0" eaLnBrk="1" latinLnBrk="0" hangingPunct="1">
        <a:defRPr sz="1400" kern="1200">
          <a:solidFill>
            <a:schemeClr val="tx1"/>
          </a:solidFill>
          <a:latin typeface="+mn-lt"/>
          <a:ea typeface="+mn-ea"/>
          <a:cs typeface="+mn-cs"/>
        </a:defRPr>
      </a:lvl8pPr>
      <a:lvl9pPr marL="2742974" algn="l" defTabSz="68574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864">
          <p15:clr>
            <a:srgbClr val="F26B43"/>
          </p15:clr>
        </p15:guide>
        <p15:guide id="5" orient="horz" pos="360">
          <p15:clr>
            <a:srgbClr val="F26B43"/>
          </p15:clr>
        </p15:guide>
        <p15:guide id="6" pos="2876">
          <p15:clr>
            <a:srgbClr val="F26B43"/>
          </p15:clr>
        </p15:guide>
        <p15:guide id="7" orient="horz" pos="720">
          <p15:clr>
            <a:srgbClr val="F26B43"/>
          </p15:clr>
        </p15:guide>
        <p15:guide id="8" pos="7344">
          <p15:clr>
            <a:srgbClr val="F26B43"/>
          </p15:clr>
        </p15:guide>
        <p15:guide id="9" orient="horz" pos="4008">
          <p15:clr>
            <a:srgbClr val="F26B43"/>
          </p15:clr>
        </p15:guide>
        <p15:guide id="10" orient="horz" pos="9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201168"/>
            <a:ext cx="8345488" cy="53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8" name="Rectangle 4">
            <a:extLst>
              <a:ext uri="{FF2B5EF4-FFF2-40B4-BE49-F238E27FC236}">
                <a16:creationId xmlns:a16="http://schemas.microsoft.com/office/drawing/2014/main" id="{A6B9956F-2D22-684C-A07D-9EBC5989D35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Cisco Confidential</a:t>
            </a:r>
          </a:p>
        </p:txBody>
      </p:sp>
    </p:spTree>
    <p:extLst>
      <p:ext uri="{BB962C8B-B14F-4D97-AF65-F5344CB8AC3E}">
        <p14:creationId xmlns:p14="http://schemas.microsoft.com/office/powerpoint/2010/main" val="990915913"/>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8" r:id="rId6"/>
    <p:sldLayoutId id="2147484759" r:id="rId7"/>
    <p:sldLayoutId id="2147484760" r:id="rId8"/>
    <p:sldLayoutId id="2147484761" r:id="rId9"/>
    <p:sldLayoutId id="2147484762" r:id="rId10"/>
    <p:sldLayoutId id="2147484763" r:id="rId11"/>
    <p:sldLayoutId id="2147484764" r:id="rId12"/>
    <p:sldLayoutId id="2147484765" r:id="rId13"/>
    <p:sldLayoutId id="2147484766" r:id="rId14"/>
    <p:sldLayoutId id="2147484767" r:id="rId15"/>
    <p:sldLayoutId id="2147484768" r:id="rId16"/>
    <p:sldLayoutId id="2147484769" r:id="rId17"/>
    <p:sldLayoutId id="2147484770" r:id="rId18"/>
    <p:sldLayoutId id="2147484771" r:id="rId19"/>
    <p:sldLayoutId id="2147484772" r:id="rId20"/>
    <p:sldLayoutId id="2147484773" r:id="rId21"/>
    <p:sldLayoutId id="2147484774" r:id="rId22"/>
    <p:sldLayoutId id="2147484776" r:id="rId23"/>
    <p:sldLayoutId id="2147484777" r:id="rId24"/>
    <p:sldLayoutId id="2147484778" r:id="rId25"/>
    <p:sldLayoutId id="2147484779" r:id="rId26"/>
    <p:sldLayoutId id="2147484780" r:id="rId27"/>
    <p:sldLayoutId id="2147484781" r:id="rId28"/>
    <p:sldLayoutId id="2147484782" r:id="rId29"/>
    <p:sldLayoutId id="2147484783" r:id="rId30"/>
    <p:sldLayoutId id="2147484784" r:id="rId31"/>
    <p:sldLayoutId id="2147484785" r:id="rId32"/>
    <p:sldLayoutId id="2147484786" r:id="rId33"/>
    <p:sldLayoutId id="2147484787" r:id="rId34"/>
    <p:sldLayoutId id="2147484788" r:id="rId35"/>
    <p:sldLayoutId id="2147484789" r:id="rId36"/>
    <p:sldLayoutId id="2147484790" r:id="rId37"/>
    <p:sldLayoutId id="2147484791" r:id="rId38"/>
    <p:sldLayoutId id="2147484792" r:id="rId39"/>
    <p:sldLayoutId id="2147484793" r:id="rId40"/>
    <p:sldLayoutId id="2147484794" r:id="rId41"/>
    <p:sldLayoutId id="2147484795" r:id="rId42"/>
    <p:sldLayoutId id="2147484796" r:id="rId43"/>
    <p:sldLayoutId id="2147484797" r:id="rId44"/>
    <p:sldLayoutId id="2147484798" r:id="rId45"/>
    <p:sldLayoutId id="2147484799" r:id="rId46"/>
    <p:sldLayoutId id="2147484800" r:id="rId47"/>
    <p:sldLayoutId id="2147484801" r:id="rId48"/>
    <p:sldLayoutId id="2147484802" r:id="rId49"/>
    <p:sldLayoutId id="2147484803" r:id="rId50"/>
    <p:sldLayoutId id="2147484804" r:id="rId51"/>
    <p:sldLayoutId id="2147484805" r:id="rId52"/>
    <p:sldLayoutId id="2147484806" r:id="rId53"/>
    <p:sldLayoutId id="2147484807" r:id="rId54"/>
    <p:sldLayoutId id="2147484808" r:id="rId55"/>
    <p:sldLayoutId id="2147484809" r:id="rId56"/>
    <p:sldLayoutId id="2147484810" r:id="rId57"/>
    <p:sldLayoutId id="2147484811" r:id="rId58"/>
    <p:sldLayoutId id="2147484812" r:id="rId59"/>
    <p:sldLayoutId id="2147484813" r:id="rId60"/>
    <p:sldLayoutId id="2147484814" r:id="rId61"/>
    <p:sldLayoutId id="2147484815" r:id="rId62"/>
    <p:sldLayoutId id="2147484816" r:id="rId63"/>
    <p:sldLayoutId id="2147484817" r:id="rId64"/>
    <p:sldLayoutId id="2147484818" r:id="rId65"/>
    <p:sldLayoutId id="2147484819" r:id="rId66"/>
    <p:sldLayoutId id="2147484820" r:id="rId67"/>
    <p:sldLayoutId id="2147484821" r:id="rId68"/>
    <p:sldLayoutId id="2147484822" r:id="rId69"/>
    <p:sldLayoutId id="2147484823" r:id="rId70"/>
    <p:sldLayoutId id="2147484824" r:id="rId71"/>
    <p:sldLayoutId id="2147484825" r:id="rId72"/>
    <p:sldLayoutId id="2147484826" r:id="rId73"/>
    <p:sldLayoutId id="2147484827" r:id="rId74"/>
    <p:sldLayoutId id="2147484828" r:id="rId75"/>
    <p:sldLayoutId id="2147484829" r:id="rId76"/>
    <p:sldLayoutId id="2147484830" r:id="rId77"/>
    <p:sldLayoutId id="2147484831" r:id="rId78"/>
    <p:sldLayoutId id="2147484832" r:id="rId79"/>
    <p:sldLayoutId id="2147484833" r:id="rId80"/>
    <p:sldLayoutId id="2147484834" r:id="rId81"/>
  </p:sldLayoutIdLst>
  <p:txStyles>
    <p:titleStyle>
      <a:lvl1pPr algn="l" defTabSz="684213" rtl="0" eaLnBrk="1" fontAlgn="base" hangingPunct="1">
        <a:lnSpc>
          <a:spcPct val="80000"/>
        </a:lnSpc>
        <a:spcBef>
          <a:spcPct val="0"/>
        </a:spcBef>
        <a:spcAft>
          <a:spcPct val="0"/>
        </a:spcAft>
        <a:defRPr lang="en-US" sz="2800" b="0" i="0" u="none" kern="1200" baseline="0" dirty="0">
          <a:solidFill>
            <a:schemeClr val="tx2"/>
          </a:solidFill>
          <a:latin typeface="CiscoSansTT" panose="020B0503020201020303" pitchFamily="34" charset="0"/>
          <a:ea typeface="CiscoSansTT" panose="020B0503020201020303" pitchFamily="34" charset="0"/>
          <a:cs typeface="CiscoSansT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4">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95958502"/>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 id="2147484858" r:id="rId16"/>
    <p:sldLayoutId id="2147484859" r:id="rId17"/>
    <p:sldLayoutId id="2147484860" r:id="rId18"/>
    <p:sldLayoutId id="2147484861" r:id="rId19"/>
    <p:sldLayoutId id="2147484862" r:id="rId20"/>
    <p:sldLayoutId id="2147484863" r:id="rId21"/>
    <p:sldLayoutId id="2147484864" r:id="rId22"/>
    <p:sldLayoutId id="2147484865" r:id="rId23"/>
    <p:sldLayoutId id="2147484866" r:id="rId24"/>
    <p:sldLayoutId id="2147484867" r:id="rId25"/>
    <p:sldLayoutId id="2147484868" r:id="rId26"/>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lumMod val="65000"/>
                  </a:schemeClr>
                </a:solidFill>
                <a:latin typeface="+mn-lt"/>
                <a:ea typeface="+mn-ea"/>
                <a:cs typeface="CiscoSans Thin"/>
              </a:rPr>
              <a:t>© 2021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39"/>
          <a:stretch>
            <a:fillRect/>
          </a:stretch>
        </p:blipFill>
        <p:spPr>
          <a:xfrm>
            <a:off x="528762" y="4751784"/>
            <a:ext cx="921665" cy="155093"/>
          </a:xfrm>
          <a:prstGeom prst="rect">
            <a:avLst/>
          </a:prstGeom>
        </p:spPr>
      </p:pic>
    </p:spTree>
    <p:extLst>
      <p:ext uri="{BB962C8B-B14F-4D97-AF65-F5344CB8AC3E}">
        <p14:creationId xmlns:p14="http://schemas.microsoft.com/office/powerpoint/2010/main" val="3216630553"/>
      </p:ext>
    </p:extLst>
  </p:cSld>
  <p:clrMap bg1="lt1" tx1="dk1" bg2="lt2" tx2="dk2" accent1="accent1" accent2="accent2" accent3="accent3" accent4="accent4" accent5="accent5" accent6="accent6" hlink="hlink" folHlink="folHlink"/>
  <p:sldLayoutIdLst>
    <p:sldLayoutId id="2147484870" r:id="rId1"/>
    <p:sldLayoutId id="2147484871" r:id="rId2"/>
    <p:sldLayoutId id="2147484872" r:id="rId3"/>
    <p:sldLayoutId id="2147484873" r:id="rId4"/>
    <p:sldLayoutId id="2147484874" r:id="rId5"/>
    <p:sldLayoutId id="2147484875" r:id="rId6"/>
    <p:sldLayoutId id="2147484876" r:id="rId7"/>
    <p:sldLayoutId id="2147484877" r:id="rId8"/>
    <p:sldLayoutId id="2147484878" r:id="rId9"/>
    <p:sldLayoutId id="2147484879" r:id="rId10"/>
    <p:sldLayoutId id="2147484880" r:id="rId11"/>
    <p:sldLayoutId id="2147484881" r:id="rId12"/>
    <p:sldLayoutId id="2147484882" r:id="rId13"/>
    <p:sldLayoutId id="2147484883" r:id="rId14"/>
    <p:sldLayoutId id="2147484884" r:id="rId15"/>
    <p:sldLayoutId id="2147484885" r:id="rId16"/>
    <p:sldLayoutId id="2147484886" r:id="rId17"/>
    <p:sldLayoutId id="2147484887" r:id="rId18"/>
    <p:sldLayoutId id="2147484888" r:id="rId19"/>
    <p:sldLayoutId id="2147484889" r:id="rId20"/>
    <p:sldLayoutId id="2147484890" r:id="rId21"/>
    <p:sldLayoutId id="2147484891" r:id="rId22"/>
    <p:sldLayoutId id="2147484892" r:id="rId23"/>
    <p:sldLayoutId id="2147484893" r:id="rId24"/>
    <p:sldLayoutId id="2147484894" r:id="rId25"/>
    <p:sldLayoutId id="2147484895" r:id="rId26"/>
    <p:sldLayoutId id="2147484896" r:id="rId27"/>
    <p:sldLayoutId id="2147484897" r:id="rId28"/>
    <p:sldLayoutId id="2147484898" r:id="rId29"/>
    <p:sldLayoutId id="2147484899" r:id="rId30"/>
    <p:sldLayoutId id="2147484900" r:id="rId31"/>
    <p:sldLayoutId id="2147484901" r:id="rId32"/>
    <p:sldLayoutId id="2147484902" r:id="rId33"/>
    <p:sldLayoutId id="2147484903" r:id="rId34"/>
    <p:sldLayoutId id="2147484904" r:id="rId35"/>
    <p:sldLayoutId id="2147484905" r:id="rId36"/>
    <p:sldLayoutId id="2147484906" r:id="rId37"/>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3"/>
            <a:ext cx="8348472" cy="3313112"/>
          </a:xfrm>
          <a:prstGeom prst="rect">
            <a:avLst/>
          </a:prstGeom>
        </p:spPr>
        <p:txBody>
          <a:bodyPr vert="horz" lIns="91440" tIns="45720" rIns="91440" bIns="4572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bg2">
                    <a:lumMod val="65000"/>
                  </a:schemeClr>
                </a:solidFill>
                <a:latin typeface="+mn-lt"/>
                <a:ea typeface="+mn-ea"/>
                <a:cs typeface="CiscoSans Thin"/>
              </a:rPr>
              <a:t>© 2020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41"/>
          <a:stretch>
            <a:fillRect/>
          </a:stretch>
        </p:blipFill>
        <p:spPr>
          <a:xfrm>
            <a:off x="528763" y="4751785"/>
            <a:ext cx="921665" cy="155093"/>
          </a:xfrm>
          <a:prstGeom prst="rect">
            <a:avLst/>
          </a:prstGeom>
        </p:spPr>
      </p:pic>
    </p:spTree>
    <p:extLst>
      <p:ext uri="{BB962C8B-B14F-4D97-AF65-F5344CB8AC3E}">
        <p14:creationId xmlns:p14="http://schemas.microsoft.com/office/powerpoint/2010/main" val="685791285"/>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 id="2147484924" r:id="rId17"/>
    <p:sldLayoutId id="2147484925" r:id="rId18"/>
    <p:sldLayoutId id="2147484926" r:id="rId19"/>
    <p:sldLayoutId id="2147484927" r:id="rId20"/>
    <p:sldLayoutId id="2147484928" r:id="rId21"/>
    <p:sldLayoutId id="2147484929" r:id="rId22"/>
    <p:sldLayoutId id="2147484930" r:id="rId23"/>
    <p:sldLayoutId id="2147484931" r:id="rId24"/>
    <p:sldLayoutId id="2147484932" r:id="rId25"/>
    <p:sldLayoutId id="2147484933" r:id="rId26"/>
    <p:sldLayoutId id="2147484934" r:id="rId27"/>
    <p:sldLayoutId id="2147484935" r:id="rId28"/>
    <p:sldLayoutId id="2147484936" r:id="rId29"/>
    <p:sldLayoutId id="2147484937" r:id="rId30"/>
    <p:sldLayoutId id="2147484938" r:id="rId31"/>
    <p:sldLayoutId id="2147484939" r:id="rId32"/>
    <p:sldLayoutId id="2147484940" r:id="rId33"/>
    <p:sldLayoutId id="2147484941" r:id="rId34"/>
    <p:sldLayoutId id="2147484942" r:id="rId35"/>
    <p:sldLayoutId id="2147484943" r:id="rId36"/>
    <p:sldLayoutId id="2147484944" r:id="rId37"/>
    <p:sldLayoutId id="2147484945" r:id="rId38"/>
    <p:sldLayoutId id="2147484946" r:id="rId39"/>
  </p:sldLayoutIdLst>
  <p:txStyles>
    <p:titleStyle>
      <a:lvl1pPr algn="l" defTabSz="684196"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594" indent="-220658" algn="l" defTabSz="684196"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45" indent="-209545" algn="l" defTabSz="684196"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07" algn="l"/>
        </a:tabLst>
        <a:defRPr lang="en-US" sz="1600" kern="1200" dirty="0" smtClean="0">
          <a:solidFill>
            <a:schemeClr val="tx1"/>
          </a:solidFill>
          <a:latin typeface="+mn-lt"/>
          <a:ea typeface="ＭＳ Ｐゴシック" charset="0"/>
          <a:cs typeface="CiscoSans"/>
        </a:defRPr>
      </a:lvl2pPr>
      <a:lvl3pPr marL="621776" indent="-171446" algn="l" defTabSz="684196"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080" indent="-185733" algn="l" defTabSz="684196"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26" indent="-171446" algn="l" defTabSz="684196"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21  Cisco and/or its affiliates. All rights reserved.   </a:t>
            </a:r>
          </a:p>
        </p:txBody>
      </p:sp>
    </p:spTree>
  </p:cSld>
  <p:clrMap bg1="lt1" tx1="dk1" bg2="lt2" tx2="dk2" accent1="accent1" accent2="accent2" accent3="accent3" accent4="accent4" accent5="accent5" accent6="accent6" hlink="hlink" folHlink="folHlink"/>
  <p:sldLayoutIdLst>
    <p:sldLayoutId id="2147484011" r:id="rId1"/>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guide id="8" pos="5424">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lumMod val="65000"/>
                  </a:schemeClr>
                </a:solidFill>
                <a:latin typeface="+mn-lt"/>
                <a:ea typeface="+mn-ea"/>
                <a:cs typeface="CiscoSans Thin"/>
              </a:rPr>
              <a:t>© 2020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41"/>
          <a:stretch>
            <a:fillRect/>
          </a:stretch>
        </p:blipFill>
        <p:spPr>
          <a:xfrm>
            <a:off x="528762" y="4751784"/>
            <a:ext cx="921665" cy="155093"/>
          </a:xfrm>
          <a:prstGeom prst="rect">
            <a:avLst/>
          </a:prstGeom>
        </p:spPr>
      </p:pic>
    </p:spTree>
    <p:extLst>
      <p:ext uri="{BB962C8B-B14F-4D97-AF65-F5344CB8AC3E}">
        <p14:creationId xmlns:p14="http://schemas.microsoft.com/office/powerpoint/2010/main" val="1287980175"/>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2" r:id="rId14"/>
    <p:sldLayoutId id="2147484963" r:id="rId15"/>
    <p:sldLayoutId id="2147484964" r:id="rId16"/>
    <p:sldLayoutId id="2147484965" r:id="rId17"/>
    <p:sldLayoutId id="2147484966" r:id="rId18"/>
    <p:sldLayoutId id="2147484967" r:id="rId19"/>
    <p:sldLayoutId id="2147484968" r:id="rId20"/>
    <p:sldLayoutId id="2147484969" r:id="rId21"/>
    <p:sldLayoutId id="2147484970" r:id="rId22"/>
    <p:sldLayoutId id="2147484971" r:id="rId23"/>
    <p:sldLayoutId id="2147484972" r:id="rId24"/>
    <p:sldLayoutId id="2147484973" r:id="rId25"/>
    <p:sldLayoutId id="2147484974" r:id="rId26"/>
    <p:sldLayoutId id="2147484975" r:id="rId27"/>
    <p:sldLayoutId id="2147484976" r:id="rId28"/>
    <p:sldLayoutId id="2147484977" r:id="rId29"/>
    <p:sldLayoutId id="2147484978" r:id="rId30"/>
    <p:sldLayoutId id="2147484979" r:id="rId31"/>
    <p:sldLayoutId id="2147484980" r:id="rId32"/>
    <p:sldLayoutId id="2147484981" r:id="rId33"/>
    <p:sldLayoutId id="2147484982" r:id="rId34"/>
    <p:sldLayoutId id="2147484983" r:id="rId35"/>
    <p:sldLayoutId id="2147484984" r:id="rId36"/>
    <p:sldLayoutId id="2147484985" r:id="rId37"/>
    <p:sldLayoutId id="2147484986" r:id="rId38"/>
    <p:sldLayoutId id="2147484987" r:id="rId39"/>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3"/>
          <a:stretch>
            <a:fillRect/>
          </a:stretch>
        </p:blipFill>
        <p:spPr>
          <a:xfrm>
            <a:off x="528762" y="4751784"/>
            <a:ext cx="921665" cy="155093"/>
          </a:xfrm>
          <a:prstGeom prst="rect">
            <a:avLst/>
          </a:prstGeom>
        </p:spPr>
      </p:pic>
    </p:spTree>
    <p:extLst>
      <p:ext uri="{BB962C8B-B14F-4D97-AF65-F5344CB8AC3E}">
        <p14:creationId xmlns:p14="http://schemas.microsoft.com/office/powerpoint/2010/main" val="2083407045"/>
      </p:ext>
    </p:extLst>
  </p:cSld>
  <p:clrMap bg1="lt1" tx1="dk1" bg2="lt2" tx2="dk2" accent1="accent1" accent2="accent2" accent3="accent3" accent4="accent4" accent5="accent5" accent6="accent6" hlink="hlink" folHlink="folHlink"/>
  <p:sldLayoutIdLst>
    <p:sldLayoutId id="2147484118" r:id="rId1"/>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2"/>
          <a:stretch>
            <a:fillRect/>
          </a:stretch>
        </p:blipFill>
        <p:spPr>
          <a:xfrm>
            <a:off x="528762" y="4751784"/>
            <a:ext cx="921665" cy="155093"/>
          </a:xfrm>
          <a:prstGeom prst="rect">
            <a:avLst/>
          </a:prstGeom>
        </p:spPr>
      </p:pic>
    </p:spTree>
    <p:extLst>
      <p:ext uri="{BB962C8B-B14F-4D97-AF65-F5344CB8AC3E}">
        <p14:creationId xmlns:p14="http://schemas.microsoft.com/office/powerpoint/2010/main" val="3486216535"/>
      </p:ext>
    </p:extLst>
  </p:cSld>
  <p:clrMap bg1="lt1" tx1="dk1" bg2="lt2" tx2="dk2" accent1="accent1" accent2="accent2" accent3="accent3" accent4="accent4" accent5="accent5" accent6="accent6" hlink="hlink" folHlink="folHlink"/>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490451"/>
            <a:ext cx="8345488" cy="58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Cisco Confidential   </a:t>
            </a:r>
          </a:p>
        </p:txBody>
      </p:sp>
      <p:pic>
        <p:nvPicPr>
          <p:cNvPr id="25" name="Picture 24">
            <a:extLst>
              <a:ext uri="{FF2B5EF4-FFF2-40B4-BE49-F238E27FC236}">
                <a16:creationId xmlns:a16="http://schemas.microsoft.com/office/drawing/2014/main" id="{236519FA-09C5-7141-B138-111699834624}"/>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528762" y="4751784"/>
            <a:ext cx="921665" cy="155093"/>
          </a:xfrm>
          <a:prstGeom prst="rect">
            <a:avLst/>
          </a:prstGeom>
        </p:spPr>
      </p:pic>
    </p:spTree>
    <p:extLst>
      <p:ext uri="{BB962C8B-B14F-4D97-AF65-F5344CB8AC3E}">
        <p14:creationId xmlns:p14="http://schemas.microsoft.com/office/powerpoint/2010/main" val="3575804816"/>
      </p:ext>
    </p:extLst>
  </p:cSld>
  <p:clrMap bg1="lt1" tx1="dk1" bg2="lt2" tx2="dk2" accent1="accent1" accent2="accent2" accent3="accent3" accent4="accent4" accent5="accent5" accent6="accent6" hlink="hlink" folHlink="folHlink"/>
  <p:sldLayoutIdLst>
    <p:sldLayoutId id="2147484456" r:id="rId1"/>
    <p:sldLayoutId id="2147484473" r:id="rId2"/>
    <p:sldLayoutId id="2147484474" r:id="rId3"/>
    <p:sldLayoutId id="2147484475" r:id="rId4"/>
    <p:sldLayoutId id="2147484490" r:id="rId5"/>
    <p:sldLayoutId id="2147484837" r:id="rId6"/>
    <p:sldLayoutId id="2147484838" r:id="rId7"/>
    <p:sldLayoutId id="2147484841" r:id="rId8"/>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8762" y="4751784"/>
            <a:ext cx="921665" cy="155093"/>
          </a:xfrm>
          <a:prstGeom prst="rect">
            <a:avLst/>
          </a:prstGeom>
        </p:spPr>
      </p:pic>
    </p:spTree>
    <p:extLst>
      <p:ext uri="{BB962C8B-B14F-4D97-AF65-F5344CB8AC3E}">
        <p14:creationId xmlns:p14="http://schemas.microsoft.com/office/powerpoint/2010/main" val="1077513274"/>
      </p:ext>
    </p:extLst>
  </p:cSld>
  <p:clrMap bg1="lt1" tx1="dk1" bg2="lt2" tx2="dk2" accent1="accent1" accent2="accent2" accent3="accent3" accent4="accent4" accent5="accent5" accent6="accent6" hlink="hlink" folHlink="folHlink"/>
  <p:sldLayoutIdLst>
    <p:sldLayoutId id="2147484116" r:id="rId1"/>
    <p:sldLayoutId id="2147484100" r:id="rId2"/>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11DF7B-F4D3-764B-BE93-9B5D435096FA}"/>
              </a:ext>
            </a:extLst>
          </p:cNvPr>
          <p:cNvGraphicFramePr>
            <a:graphicFrameLocks noChangeAspect="1"/>
          </p:cNvGraphicFramePr>
          <p:nvPr userDrawn="1">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2C11DF7B-F4D3-764B-BE93-9B5D435096FA}"/>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EDD944F-E0FD-494D-B6AC-F6FE7335639D}"/>
              </a:ext>
            </a:extLst>
          </p:cNvPr>
          <p:cNvSpPr/>
          <p:nvPr userDrawn="1">
            <p:custDataLst>
              <p:tags r:id="rId6"/>
            </p:custDataLst>
          </p:nvPr>
        </p:nvSpPr>
        <p:spPr>
          <a:xfrm>
            <a:off x="0" y="0"/>
            <a:ext cx="158750" cy="15875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3"/>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8433" y="4799811"/>
            <a:ext cx="221837"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grpSp>
        <p:nvGrpSpPr>
          <p:cNvPr id="15" name="Group 14">
            <a:extLst>
              <a:ext uri="{FF2B5EF4-FFF2-40B4-BE49-F238E27FC236}">
                <a16:creationId xmlns:a16="http://schemas.microsoft.com/office/drawing/2014/main" id="{CBED5B83-1E8D-644B-9D99-73AF8BF11929}"/>
              </a:ext>
            </a:extLst>
          </p:cNvPr>
          <p:cNvGrpSpPr/>
          <p:nvPr userDrawn="1"/>
        </p:nvGrpSpPr>
        <p:grpSpPr>
          <a:xfrm>
            <a:off x="528764" y="4712482"/>
            <a:ext cx="921665" cy="191516"/>
            <a:chOff x="528763" y="4734321"/>
            <a:chExt cx="816561" cy="169676"/>
          </a:xfrm>
          <a:solidFill>
            <a:schemeClr val="accent2"/>
          </a:solidFill>
        </p:grpSpPr>
        <p:grpSp>
          <p:nvGrpSpPr>
            <p:cNvPr id="16" name="Graphic 2">
              <a:extLst>
                <a:ext uri="{FF2B5EF4-FFF2-40B4-BE49-F238E27FC236}">
                  <a16:creationId xmlns:a16="http://schemas.microsoft.com/office/drawing/2014/main" id="{B4346FFB-18F0-A14C-88D9-6B596E64AD83}"/>
                </a:ext>
              </a:extLst>
            </p:cNvPr>
            <p:cNvGrpSpPr/>
            <p:nvPr userDrawn="1"/>
          </p:nvGrpSpPr>
          <p:grpSpPr>
            <a:xfrm>
              <a:off x="896434" y="4795886"/>
              <a:ext cx="448890" cy="108111"/>
              <a:chOff x="4433187" y="1865375"/>
              <a:chExt cx="2298157" cy="553493"/>
            </a:xfrm>
            <a:grpFill/>
          </p:grpSpPr>
          <p:sp>
            <p:nvSpPr>
              <p:cNvPr id="18" name="Freeform 17">
                <a:extLst>
                  <a:ext uri="{FF2B5EF4-FFF2-40B4-BE49-F238E27FC236}">
                    <a16:creationId xmlns:a16="http://schemas.microsoft.com/office/drawing/2014/main" id="{042A2B56-6FEB-F54C-A2BC-5EE3D63C0C2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19" name="Freeform 18">
                <a:extLst>
                  <a:ext uri="{FF2B5EF4-FFF2-40B4-BE49-F238E27FC236}">
                    <a16:creationId xmlns:a16="http://schemas.microsoft.com/office/drawing/2014/main" id="{CFB12BFD-05F3-FA48-9138-1112F65A4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0" name="Freeform 19">
                <a:extLst>
                  <a:ext uri="{FF2B5EF4-FFF2-40B4-BE49-F238E27FC236}">
                    <a16:creationId xmlns:a16="http://schemas.microsoft.com/office/drawing/2014/main" id="{83D9EA9D-4EFB-104F-966A-6971C09C94F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1" name="Freeform 20">
                <a:extLst>
                  <a:ext uri="{FF2B5EF4-FFF2-40B4-BE49-F238E27FC236}">
                    <a16:creationId xmlns:a16="http://schemas.microsoft.com/office/drawing/2014/main" id="{3436A28A-6312-9E42-8194-07996A6A6509}"/>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2" name="Freeform 21">
                <a:extLst>
                  <a:ext uri="{FF2B5EF4-FFF2-40B4-BE49-F238E27FC236}">
                    <a16:creationId xmlns:a16="http://schemas.microsoft.com/office/drawing/2014/main" id="{47821BB3-D7E0-304B-997D-9FFA9A362889}"/>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58C95125-B3C6-5648-A684-B284AD3181C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17" name="Freeform 6">
              <a:extLst>
                <a:ext uri="{FF2B5EF4-FFF2-40B4-BE49-F238E27FC236}">
                  <a16:creationId xmlns:a16="http://schemas.microsoft.com/office/drawing/2014/main" id="{EFF30873-2CCF-204E-8D5E-18B9F31E7799}"/>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Cisco Confidential   </a:t>
            </a:r>
          </a:p>
        </p:txBody>
      </p:sp>
    </p:spTree>
    <p:extLst>
      <p:ext uri="{BB962C8B-B14F-4D97-AF65-F5344CB8AC3E}">
        <p14:creationId xmlns:p14="http://schemas.microsoft.com/office/powerpoint/2010/main" val="1244412981"/>
      </p:ext>
    </p:extLst>
  </p:cSld>
  <p:clrMap bg1="lt1" tx1="dk1" bg2="lt2" tx2="dk2" accent1="accent1" accent2="accent2" accent3="accent3" accent4="accent4" accent5="accent5" accent6="accent6" hlink="hlink" folHlink="folHlink"/>
  <p:sldLayoutIdLst>
    <p:sldLayoutId id="2147484545" r:id="rId1"/>
    <p:sldLayoutId id="2147484551" r:id="rId2"/>
    <p:sldLayoutId id="2147484548" r:id="rId3"/>
  </p:sldLayoutIdLst>
  <p:txStyles>
    <p:titleStyle>
      <a:lvl1pPr algn="l" defTabSz="684196"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594" indent="-220658" algn="l" defTabSz="684196" rtl="0" eaLnBrk="1" fontAlgn="base" hangingPunct="1">
        <a:lnSpc>
          <a:spcPct val="95000"/>
        </a:lnSpc>
        <a:spcBef>
          <a:spcPts val="1200"/>
        </a:spcBef>
        <a:spcAft>
          <a:spcPct val="0"/>
        </a:spcAft>
        <a:buClr>
          <a:schemeClr val="accent2"/>
        </a:buClr>
        <a:buSzPct val="80000"/>
        <a:buFont typeface="Arial" charset="0"/>
        <a:buChar char="•"/>
        <a:tabLst/>
        <a:defRPr lang="en-US" sz="1800" kern="1200" dirty="0">
          <a:solidFill>
            <a:schemeClr val="tx1"/>
          </a:solidFill>
          <a:latin typeface="+mn-lt"/>
          <a:ea typeface="ＭＳ Ｐゴシック" charset="0"/>
          <a:cs typeface="CiscoSans"/>
        </a:defRPr>
      </a:lvl1pPr>
      <a:lvl2pPr marL="448045" indent="-209545" algn="l" defTabSz="684196"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07" algn="l"/>
        </a:tabLst>
        <a:defRPr lang="en-US" sz="1600" kern="1200" dirty="0" smtClean="0">
          <a:solidFill>
            <a:schemeClr val="tx1"/>
          </a:solidFill>
          <a:latin typeface="+mn-lt"/>
          <a:ea typeface="ＭＳ Ｐゴシック" charset="0"/>
          <a:cs typeface="CiscoSans"/>
        </a:defRPr>
      </a:lvl2pPr>
      <a:lvl3pPr marL="621776" indent="-171446" algn="l" defTabSz="684196" rtl="0" eaLnBrk="1" fontAlgn="base" hangingPunct="1">
        <a:lnSpc>
          <a:spcPct val="95000"/>
        </a:lnSpc>
        <a:spcBef>
          <a:spcPts val="600"/>
        </a:spcBef>
        <a:spcAft>
          <a:spcPct val="0"/>
        </a:spcAft>
        <a:buClr>
          <a:schemeClr val="accent2"/>
        </a:buClr>
        <a:buSzPct val="80000"/>
        <a:buFont typeface="Arial" charset="0"/>
        <a:buChar char="•"/>
        <a:tabLst/>
        <a:defRPr lang="en-US" sz="1400" kern="1200" dirty="0">
          <a:solidFill>
            <a:schemeClr val="tx1"/>
          </a:solidFill>
          <a:latin typeface="+mn-lt"/>
          <a:ea typeface="ＭＳ Ｐゴシック" charset="0"/>
          <a:cs typeface="CiscoSans"/>
        </a:defRPr>
      </a:lvl3pPr>
      <a:lvl4pPr marL="800080" indent="-185733" algn="l" defTabSz="684196"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26" indent="-171446" algn="l" defTabSz="684196"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userDrawn="1"/>
        </p:nvPicPr>
        <p:blipFill>
          <a:blip r:embed="rId3"/>
          <a:stretch>
            <a:fillRect/>
          </a:stretch>
        </p:blipFill>
        <p:spPr>
          <a:xfrm>
            <a:off x="528762" y="4751784"/>
            <a:ext cx="921665" cy="155093"/>
          </a:xfrm>
          <a:prstGeom prst="rect">
            <a:avLst/>
          </a:prstGeom>
        </p:spPr>
      </p:pic>
    </p:spTree>
    <p:extLst>
      <p:ext uri="{BB962C8B-B14F-4D97-AF65-F5344CB8AC3E}">
        <p14:creationId xmlns:p14="http://schemas.microsoft.com/office/powerpoint/2010/main" val="3399201595"/>
      </p:ext>
    </p:extLst>
  </p:cSld>
  <p:clrMap bg1="lt1" tx1="dk1" bg2="lt2" tx2="dk2" accent1="accent1" accent2="accent2" accent3="accent3" accent4="accent4" accent5="accent5" accent6="accent6" hlink="hlink" folHlink="folHlink"/>
  <p:sldLayoutIdLst>
    <p:sldLayoutId id="2147484636" r:id="rId1"/>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3"/>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p:nvSpPr>
        <p:spPr bwMode="ltGray">
          <a:xfrm>
            <a:off x="8508433" y="4799811"/>
            <a:ext cx="221837"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sp>
        <p:nvSpPr>
          <p:cNvPr id="24" name="Rectangle 4">
            <a:extLst>
              <a:ext uri="{FF2B5EF4-FFF2-40B4-BE49-F238E27FC236}">
                <a16:creationId xmlns:a16="http://schemas.microsoft.com/office/drawing/2014/main" id="{190C3DC9-A637-1940-80C1-DAB6952B20CA}"/>
              </a:ext>
            </a:extLst>
          </p:cNvPr>
          <p:cNvSpPr>
            <a:spLocks noChangeArrowheads="1"/>
          </p:cNvSpPr>
          <p:nvPr/>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1 Cisco and/or its affiliates. All rights reserved. Cisco Confidential   </a:t>
            </a:r>
          </a:p>
        </p:txBody>
      </p:sp>
      <p:pic>
        <p:nvPicPr>
          <p:cNvPr id="26" name="Picture 25">
            <a:extLst>
              <a:ext uri="{FF2B5EF4-FFF2-40B4-BE49-F238E27FC236}">
                <a16:creationId xmlns:a16="http://schemas.microsoft.com/office/drawing/2014/main" id="{78D06996-3B20-B946-86A3-ED52628C50BD}"/>
              </a:ext>
            </a:extLst>
          </p:cNvPr>
          <p:cNvPicPr>
            <a:picLocks noChangeAspect="1"/>
          </p:cNvPicPr>
          <p:nvPr/>
        </p:nvPicPr>
        <p:blipFill>
          <a:blip r:embed="rId4"/>
          <a:stretch>
            <a:fillRect/>
          </a:stretch>
        </p:blipFill>
        <p:spPr>
          <a:xfrm>
            <a:off x="528763" y="4751785"/>
            <a:ext cx="921665" cy="155093"/>
          </a:xfrm>
          <a:prstGeom prst="rect">
            <a:avLst/>
          </a:prstGeom>
        </p:spPr>
      </p:pic>
    </p:spTree>
    <p:extLst>
      <p:ext uri="{BB962C8B-B14F-4D97-AF65-F5344CB8AC3E}">
        <p14:creationId xmlns:p14="http://schemas.microsoft.com/office/powerpoint/2010/main" val="4006183964"/>
      </p:ext>
    </p:extLst>
  </p:cSld>
  <p:clrMap bg1="lt1" tx1="dk1" bg2="lt2" tx2="dk2" accent1="accent1" accent2="accent2" accent3="accent3" accent4="accent4" accent5="accent5" accent6="accent6" hlink="hlink" folHlink="folHlink"/>
  <p:sldLayoutIdLst>
    <p:sldLayoutId id="2147483672" r:id="rId1"/>
    <p:sldLayoutId id="2147483670" r:id="rId2"/>
  </p:sldLayoutIdLst>
  <p:txStyles>
    <p:titleStyle>
      <a:lvl1pPr algn="l" defTabSz="684196"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594" indent="-220658" algn="l" defTabSz="684196" rtl="0" eaLnBrk="1" fontAlgn="base" hangingPunct="1">
        <a:lnSpc>
          <a:spcPct val="95000"/>
        </a:lnSpc>
        <a:spcBef>
          <a:spcPts val="1200"/>
        </a:spcBef>
        <a:spcAft>
          <a:spcPct val="0"/>
        </a:spcAft>
        <a:buClr>
          <a:schemeClr val="accent1"/>
        </a:buClr>
        <a:buSzPct val="80000"/>
        <a:buFont typeface="Arial" charset="0"/>
        <a:buChar char="•"/>
        <a:tabLst/>
        <a:defRPr lang="en-US" sz="1800" kern="1200" dirty="0">
          <a:solidFill>
            <a:schemeClr val="tx1"/>
          </a:solidFill>
          <a:latin typeface="+mn-lt"/>
          <a:ea typeface="ＭＳ Ｐゴシック" charset="0"/>
          <a:cs typeface="CiscoSans"/>
        </a:defRPr>
      </a:lvl1pPr>
      <a:lvl2pPr marL="448045" indent="-209545" algn="l" defTabSz="684196"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tab pos="227007" algn="l"/>
        </a:tabLst>
        <a:defRPr lang="en-US" sz="1600" kern="1200" dirty="0" smtClean="0">
          <a:solidFill>
            <a:schemeClr val="tx1"/>
          </a:solidFill>
          <a:latin typeface="+mn-lt"/>
          <a:ea typeface="ＭＳ Ｐゴシック" charset="0"/>
          <a:cs typeface="CiscoSans"/>
        </a:defRPr>
      </a:lvl2pPr>
      <a:lvl3pPr marL="621776" indent="-171446" algn="l" defTabSz="684196" rtl="0" eaLnBrk="1" fontAlgn="base" hangingPunct="1">
        <a:lnSpc>
          <a:spcPct val="95000"/>
        </a:lnSpc>
        <a:spcBef>
          <a:spcPts val="600"/>
        </a:spcBef>
        <a:spcAft>
          <a:spcPct val="0"/>
        </a:spcAft>
        <a:buClr>
          <a:schemeClr val="accent1"/>
        </a:buClr>
        <a:buSzPct val="80000"/>
        <a:buFont typeface="Arial" charset="0"/>
        <a:buChar char="•"/>
        <a:tabLst/>
        <a:defRPr lang="en-US" sz="1400" kern="1200" dirty="0">
          <a:solidFill>
            <a:schemeClr val="tx1"/>
          </a:solidFill>
          <a:latin typeface="+mn-lt"/>
          <a:ea typeface="ＭＳ Ｐゴシック" charset="0"/>
          <a:cs typeface="CiscoSans"/>
        </a:defRPr>
      </a:lvl3pPr>
      <a:lvl4pPr marL="800080" indent="-185733" algn="l" defTabSz="684196" rtl="0" eaLnBrk="1" fontAlgn="base" hangingPunct="1">
        <a:lnSpc>
          <a:spcPct val="95000"/>
        </a:lnSpc>
        <a:spcBef>
          <a:spcPts val="600"/>
        </a:spcBef>
        <a:spcAft>
          <a:spcPct val="0"/>
        </a:spcAft>
        <a:buClr>
          <a:schemeClr val="accent1"/>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26" indent="-171446" algn="l" defTabSz="684196" rtl="0" eaLnBrk="1" fontAlgn="base" hangingPunct="1">
        <a:lnSpc>
          <a:spcPct val="95000"/>
        </a:lnSpc>
        <a:spcBef>
          <a:spcPts val="600"/>
        </a:spcBef>
        <a:spcAft>
          <a:spcPct val="0"/>
        </a:spcAft>
        <a:buClr>
          <a:schemeClr val="accent1"/>
        </a:buClr>
        <a:buSzPct val="80000"/>
        <a:buFont typeface="Arial" charset="0"/>
        <a:buChar char="•"/>
        <a:tabLst/>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3" userDrawn="1">
          <p15:clr>
            <a:srgbClr val="F26B43"/>
          </p15:clr>
        </p15:guide>
        <p15:guide id="2" pos="252" userDrawn="1">
          <p15:clr>
            <a:srgbClr val="F26B43"/>
          </p15:clr>
        </p15:guide>
        <p15:guide id="3" pos="4086" userDrawn="1">
          <p15:clr>
            <a:srgbClr val="F26B43"/>
          </p15:clr>
        </p15:guide>
        <p15:guide id="4" orient="horz" pos="568" userDrawn="1">
          <p15:clr>
            <a:srgbClr val="F26B43"/>
          </p15:clr>
        </p15:guide>
        <p15:guide id="5" orient="horz" pos="251" userDrawn="1">
          <p15:clr>
            <a:srgbClr val="F26B43"/>
          </p15:clr>
        </p15:guide>
        <p15:guide id="6" pos="2157" userDrawn="1">
          <p15:clr>
            <a:srgbClr val="F26B43"/>
          </p15:clr>
        </p15:guide>
        <p15:guide id="7" orient="horz" pos="78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12.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22.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240.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256.xml"/></Relationships>
</file>

<file path=ppt/slides/_rels/slide1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6.xml"/><Relationship Id="rId1" Type="http://schemas.openxmlformats.org/officeDocument/2006/relationships/slideLayout" Target="../slideLayouts/slideLayout256.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256.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256.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256.xml"/><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256.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256.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256.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256.xml"/><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256.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256.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56.xml"/></Relationships>
</file>

<file path=ppt/slides/_rels/slide27.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7.xml"/><Relationship Id="rId1" Type="http://schemas.openxmlformats.org/officeDocument/2006/relationships/slideLayout" Target="../slideLayouts/slideLayout256.xml"/></Relationships>
</file>

<file path=ppt/slides/_rels/slide28.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28.xml"/><Relationship Id="rId1" Type="http://schemas.openxmlformats.org/officeDocument/2006/relationships/slideLayout" Target="../slideLayouts/slideLayout256.xml"/></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256.xml"/><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6.xml"/><Relationship Id="rId7" Type="http://schemas.openxmlformats.org/officeDocument/2006/relationships/slideLayout" Target="../slideLayouts/slideLayout9.xml"/><Relationship Id="rId12" Type="http://schemas.openxmlformats.org/officeDocument/2006/relationships/image" Target="../media/image3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36.png"/><Relationship Id="rId5" Type="http://schemas.openxmlformats.org/officeDocument/2006/relationships/tags" Target="../tags/tag8.xml"/><Relationship Id="rId10" Type="http://schemas.openxmlformats.org/officeDocument/2006/relationships/image" Target="../media/image35.png"/><Relationship Id="rId4" Type="http://schemas.openxmlformats.org/officeDocument/2006/relationships/tags" Target="../tags/tag7.xml"/><Relationship Id="rId9" Type="http://schemas.openxmlformats.org/officeDocument/2006/relationships/image" Target="../media/image3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20.xml"/><Relationship Id="rId5" Type="http://schemas.openxmlformats.org/officeDocument/2006/relationships/image" Target="../media/image73.png"/><Relationship Id="rId4" Type="http://schemas.openxmlformats.org/officeDocument/2006/relationships/image" Target="../media/image7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314.xml"/><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4.xml"/><Relationship Id="rId1" Type="http://schemas.openxmlformats.org/officeDocument/2006/relationships/slideLayout" Target="../slideLayouts/slideLayout21.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5.xml"/><Relationship Id="rId1" Type="http://schemas.openxmlformats.org/officeDocument/2006/relationships/slideLayout" Target="../slideLayouts/slideLayout298.xml"/><Relationship Id="rId5" Type="http://schemas.openxmlformats.org/officeDocument/2006/relationships/image" Target="../media/image82.png"/><Relationship Id="rId4" Type="http://schemas.openxmlformats.org/officeDocument/2006/relationships/image" Target="../media/image81.png"/></Relationships>
</file>

<file path=ppt/slides/_rels/slide3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46.xml"/></Relationships>
</file>

<file path=ppt/slides/_rels/slide37.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36.xml"/><Relationship Id="rId1" Type="http://schemas.openxmlformats.org/officeDocument/2006/relationships/slideLayout" Target="../slideLayouts/slideLayout346.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38.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336.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18" Type="http://schemas.openxmlformats.org/officeDocument/2006/relationships/image" Target="../media/image115.png"/><Relationship Id="rId26" Type="http://schemas.openxmlformats.org/officeDocument/2006/relationships/image" Target="../media/image123.png"/><Relationship Id="rId3" Type="http://schemas.openxmlformats.org/officeDocument/2006/relationships/image" Target="../media/image100.png"/><Relationship Id="rId21" Type="http://schemas.openxmlformats.org/officeDocument/2006/relationships/image" Target="../media/image118.png"/><Relationship Id="rId7" Type="http://schemas.openxmlformats.org/officeDocument/2006/relationships/image" Target="../media/image104.png"/><Relationship Id="rId12" Type="http://schemas.openxmlformats.org/officeDocument/2006/relationships/image" Target="../media/image109.png"/><Relationship Id="rId17" Type="http://schemas.openxmlformats.org/officeDocument/2006/relationships/image" Target="../media/image114.png"/><Relationship Id="rId25" Type="http://schemas.openxmlformats.org/officeDocument/2006/relationships/image" Target="../media/image122.png"/><Relationship Id="rId2" Type="http://schemas.openxmlformats.org/officeDocument/2006/relationships/notesSlide" Target="../notesSlides/notesSlide38.xml"/><Relationship Id="rId16" Type="http://schemas.openxmlformats.org/officeDocument/2006/relationships/image" Target="../media/image113.png"/><Relationship Id="rId20" Type="http://schemas.openxmlformats.org/officeDocument/2006/relationships/image" Target="../media/image117.png"/><Relationship Id="rId1" Type="http://schemas.openxmlformats.org/officeDocument/2006/relationships/slideLayout" Target="../slideLayouts/slideLayout335.xml"/><Relationship Id="rId6" Type="http://schemas.openxmlformats.org/officeDocument/2006/relationships/image" Target="../media/image103.png"/><Relationship Id="rId11" Type="http://schemas.openxmlformats.org/officeDocument/2006/relationships/image" Target="../media/image108.png"/><Relationship Id="rId24" Type="http://schemas.openxmlformats.org/officeDocument/2006/relationships/image" Target="../media/image121.png"/><Relationship Id="rId5" Type="http://schemas.openxmlformats.org/officeDocument/2006/relationships/image" Target="../media/image102.png"/><Relationship Id="rId15" Type="http://schemas.openxmlformats.org/officeDocument/2006/relationships/image" Target="../media/image112.png"/><Relationship Id="rId23" Type="http://schemas.openxmlformats.org/officeDocument/2006/relationships/image" Target="../media/image120.png"/><Relationship Id="rId10" Type="http://schemas.openxmlformats.org/officeDocument/2006/relationships/image" Target="../media/image107.png"/><Relationship Id="rId19" Type="http://schemas.openxmlformats.org/officeDocument/2006/relationships/image" Target="../media/image116.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hyperlink" Target="https://duo.com/doc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41.tiff"/><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42.png"/><Relationship Id="rId4" Type="http://schemas.openxmlformats.org/officeDocument/2006/relationships/hyperlink" Target="mailto:noreply@charter.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ubtitle 18">
            <a:extLst>
              <a:ext uri="{FF2B5EF4-FFF2-40B4-BE49-F238E27FC236}">
                <a16:creationId xmlns:a16="http://schemas.microsoft.com/office/drawing/2014/main" id="{E57B4646-C1D1-CC4F-8DC7-794AEADB7F26}"/>
              </a:ext>
            </a:extLst>
          </p:cNvPr>
          <p:cNvSpPr>
            <a:spLocks noGrp="1"/>
          </p:cNvSpPr>
          <p:nvPr>
            <p:ph type="subTitle" idx="1"/>
          </p:nvPr>
        </p:nvSpPr>
        <p:spPr/>
        <p:txBody>
          <a:bodyPr/>
          <a:lstStyle/>
          <a:p>
            <a:r>
              <a:rPr lang="en-US" dirty="0" err="1"/>
              <a:t>Vedran</a:t>
            </a:r>
            <a:r>
              <a:rPr lang="en-US" dirty="0"/>
              <a:t> Hafner</a:t>
            </a:r>
          </a:p>
        </p:txBody>
      </p:sp>
      <p:sp>
        <p:nvSpPr>
          <p:cNvPr id="20" name="Text Placeholder 19">
            <a:extLst>
              <a:ext uri="{FF2B5EF4-FFF2-40B4-BE49-F238E27FC236}">
                <a16:creationId xmlns:a16="http://schemas.microsoft.com/office/drawing/2014/main" id="{E5ED0080-6ABD-1A45-83B8-A9F082CBDC44}"/>
              </a:ext>
            </a:extLst>
          </p:cNvPr>
          <p:cNvSpPr>
            <a:spLocks noGrp="1"/>
          </p:cNvSpPr>
          <p:nvPr>
            <p:ph type="body" sz="quarter" idx="11"/>
          </p:nvPr>
        </p:nvSpPr>
        <p:spPr/>
        <p:txBody>
          <a:bodyPr/>
          <a:lstStyle/>
          <a:p>
            <a:r>
              <a:rPr lang="en-US" dirty="0"/>
              <a:t>Leader, Systems </a:t>
            </a:r>
            <a:r>
              <a:rPr lang="en-US" dirty="0" err="1"/>
              <a:t>Engeneering</a:t>
            </a:r>
            <a:endParaRPr lang="en-US" dirty="0"/>
          </a:p>
        </p:txBody>
      </p:sp>
      <p:sp>
        <p:nvSpPr>
          <p:cNvPr id="3" name="Text Placeholder 2">
            <a:extLst>
              <a:ext uri="{FF2B5EF4-FFF2-40B4-BE49-F238E27FC236}">
                <a16:creationId xmlns:a16="http://schemas.microsoft.com/office/drawing/2014/main" id="{06D2570F-11C3-F545-97A3-D056E4651B3F}"/>
              </a:ext>
            </a:extLst>
          </p:cNvPr>
          <p:cNvSpPr>
            <a:spLocks noGrp="1"/>
          </p:cNvSpPr>
          <p:nvPr>
            <p:ph type="body" sz="quarter" idx="12"/>
          </p:nvPr>
        </p:nvSpPr>
        <p:spPr/>
        <p:txBody>
          <a:bodyPr vert="horz" lIns="91420" tIns="45710" rIns="91420" bIns="45710" rtlCol="0" anchor="t">
            <a:noAutofit/>
          </a:bodyPr>
          <a:lstStyle/>
          <a:p>
            <a:r>
              <a:rPr lang="en-US" dirty="0"/>
              <a:t>2021</a:t>
            </a:r>
          </a:p>
        </p:txBody>
      </p:sp>
      <p:sp>
        <p:nvSpPr>
          <p:cNvPr id="10" name="Text Placeholder 9">
            <a:extLst>
              <a:ext uri="{FF2B5EF4-FFF2-40B4-BE49-F238E27FC236}">
                <a16:creationId xmlns:a16="http://schemas.microsoft.com/office/drawing/2014/main" id="{555FC83F-008A-3B4B-A082-4380F0226737}"/>
              </a:ext>
            </a:extLst>
          </p:cNvPr>
          <p:cNvSpPr>
            <a:spLocks noGrp="1"/>
          </p:cNvSpPr>
          <p:nvPr>
            <p:ph type="body" sz="quarter" idx="13"/>
          </p:nvPr>
        </p:nvSpPr>
        <p:spPr>
          <a:xfrm>
            <a:off x="425766" y="3116897"/>
            <a:ext cx="5486400" cy="299001"/>
          </a:xfrm>
        </p:spPr>
        <p:txBody>
          <a:bodyPr/>
          <a:lstStyle/>
          <a:p>
            <a:r>
              <a:rPr lang="en-US" dirty="0"/>
              <a:t>Intro</a:t>
            </a:r>
          </a:p>
        </p:txBody>
      </p:sp>
      <p:sp>
        <p:nvSpPr>
          <p:cNvPr id="6" name="Title 5"/>
          <p:cNvSpPr>
            <a:spLocks noGrp="1"/>
          </p:cNvSpPr>
          <p:nvPr>
            <p:ph type="ctrTitle"/>
          </p:nvPr>
        </p:nvSpPr>
        <p:spPr/>
        <p:txBody>
          <a:bodyPr/>
          <a:lstStyle/>
          <a:p>
            <a:r>
              <a:rPr lang="en-US" dirty="0" err="1"/>
              <a:t>Kibernetička</a:t>
            </a:r>
            <a:r>
              <a:rPr lang="en-US" dirty="0"/>
              <a:t> </a:t>
            </a:r>
            <a:r>
              <a:rPr lang="en-US" dirty="0" err="1"/>
              <a:t>sigurnost</a:t>
            </a:r>
            <a:endParaRPr lang="en-US" dirty="0"/>
          </a:p>
        </p:txBody>
      </p:sp>
    </p:spTree>
    <p:extLst>
      <p:ext uri="{BB962C8B-B14F-4D97-AF65-F5344CB8AC3E}">
        <p14:creationId xmlns:p14="http://schemas.microsoft.com/office/powerpoint/2010/main" val="1283038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road, traffic, light, driving&#10;&#10;Description automatically generated">
            <a:extLst>
              <a:ext uri="{FF2B5EF4-FFF2-40B4-BE49-F238E27FC236}">
                <a16:creationId xmlns:a16="http://schemas.microsoft.com/office/drawing/2014/main" id="{05ADF130-26FD-804C-B829-8C7D086548A5}"/>
              </a:ext>
            </a:extLst>
          </p:cNvPr>
          <p:cNvPicPr>
            <a:picLocks noChangeAspect="1"/>
          </p:cNvPicPr>
          <p:nvPr/>
        </p:nvPicPr>
        <p:blipFill>
          <a:blip r:embed="rId3"/>
          <a:stretch>
            <a:fillRect/>
          </a:stretch>
        </p:blipFill>
        <p:spPr>
          <a:xfrm>
            <a:off x="0" y="130628"/>
            <a:ext cx="9144000" cy="4772875"/>
          </a:xfrm>
          <a:prstGeom prst="rect">
            <a:avLst/>
          </a:prstGeom>
        </p:spPr>
      </p:pic>
      <p:sp>
        <p:nvSpPr>
          <p:cNvPr id="4" name="Subtitle 3">
            <a:extLst>
              <a:ext uri="{FF2B5EF4-FFF2-40B4-BE49-F238E27FC236}">
                <a16:creationId xmlns:a16="http://schemas.microsoft.com/office/drawing/2014/main" id="{B798DDCB-CC20-48CE-955B-C5A25884520E}"/>
              </a:ext>
            </a:extLst>
          </p:cNvPr>
          <p:cNvSpPr>
            <a:spLocks noGrp="1"/>
          </p:cNvSpPr>
          <p:nvPr>
            <p:ph type="subTitle" idx="1"/>
          </p:nvPr>
        </p:nvSpPr>
        <p:spPr>
          <a:xfrm>
            <a:off x="423789" y="4244747"/>
            <a:ext cx="4148211" cy="288131"/>
          </a:xfrm>
        </p:spPr>
        <p:txBody>
          <a:bodyPr/>
          <a:lstStyle/>
          <a:p>
            <a:endParaRPr lang="en-US">
              <a:solidFill>
                <a:schemeClr val="tx1"/>
              </a:solidFill>
            </a:endParaRPr>
          </a:p>
        </p:txBody>
      </p:sp>
      <p:sp>
        <p:nvSpPr>
          <p:cNvPr id="5" name="Text Placeholder 4">
            <a:extLst>
              <a:ext uri="{FF2B5EF4-FFF2-40B4-BE49-F238E27FC236}">
                <a16:creationId xmlns:a16="http://schemas.microsoft.com/office/drawing/2014/main" id="{16344CD5-C3ED-48C0-82AB-A59626DA6C90}"/>
              </a:ext>
            </a:extLst>
          </p:cNvPr>
          <p:cNvSpPr>
            <a:spLocks noGrp="1"/>
          </p:cNvSpPr>
          <p:nvPr>
            <p:ph type="body" sz="quarter" idx="11"/>
          </p:nvPr>
        </p:nvSpPr>
        <p:spPr>
          <a:xfrm>
            <a:off x="423789" y="4484744"/>
            <a:ext cx="4148211" cy="288131"/>
          </a:xfrm>
        </p:spPr>
        <p:txBody>
          <a:bodyPr/>
          <a:lstStyle/>
          <a:p>
            <a:endParaRPr lang="en-US">
              <a:solidFill>
                <a:schemeClr val="tx1"/>
              </a:solidFill>
            </a:endParaRPr>
          </a:p>
        </p:txBody>
      </p:sp>
      <p:sp>
        <p:nvSpPr>
          <p:cNvPr id="6" name="Text Placeholder 5">
            <a:extLst>
              <a:ext uri="{FF2B5EF4-FFF2-40B4-BE49-F238E27FC236}">
                <a16:creationId xmlns:a16="http://schemas.microsoft.com/office/drawing/2014/main" id="{26DFC118-3ECA-45B7-8184-55931CC5270F}"/>
              </a:ext>
            </a:extLst>
          </p:cNvPr>
          <p:cNvSpPr>
            <a:spLocks noGrp="1"/>
          </p:cNvSpPr>
          <p:nvPr>
            <p:ph type="body" sz="quarter" idx="12"/>
          </p:nvPr>
        </p:nvSpPr>
        <p:spPr>
          <a:xfrm>
            <a:off x="423789" y="4724741"/>
            <a:ext cx="4148211" cy="288131"/>
          </a:xfrm>
        </p:spPr>
        <p:txBody>
          <a:bodyPr/>
          <a:lstStyle/>
          <a:p>
            <a:endParaRPr lang="en-US" dirty="0">
              <a:solidFill>
                <a:schemeClr val="tx1"/>
              </a:solidFill>
            </a:endParaRPr>
          </a:p>
        </p:txBody>
      </p:sp>
    </p:spTree>
    <p:extLst>
      <p:ext uri="{BB962C8B-B14F-4D97-AF65-F5344CB8AC3E}">
        <p14:creationId xmlns:p14="http://schemas.microsoft.com/office/powerpoint/2010/main" val="30428833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A97499-69F9-488B-8764-D5505BC00F77}"/>
              </a:ext>
            </a:extLst>
          </p:cNvPr>
          <p:cNvSpPr>
            <a:spLocks noGrp="1"/>
          </p:cNvSpPr>
          <p:nvPr>
            <p:ph type="body" sz="quarter" idx="10"/>
          </p:nvPr>
        </p:nvSpPr>
        <p:spPr/>
        <p:txBody>
          <a:bodyPr/>
          <a:lstStyle/>
          <a:p>
            <a:r>
              <a:rPr lang="en-US" dirty="0"/>
              <a:t>Credentials help attackers navigate laterally under the radar.</a:t>
            </a:r>
          </a:p>
          <a:p>
            <a:r>
              <a:rPr lang="en-US" dirty="0"/>
              <a:t>Stealing and using legitimate credentials to gain access is more likely to go undetected.</a:t>
            </a:r>
          </a:p>
          <a:p>
            <a:r>
              <a:rPr lang="en-US" dirty="0"/>
              <a:t>Using stolen credentials second-most common activity conducted by attackers during a breach.</a:t>
            </a:r>
            <a:r>
              <a:rPr lang="en-US" baseline="30000" dirty="0"/>
              <a:t>1</a:t>
            </a:r>
            <a:r>
              <a:rPr lang="en-US" sz="1800" dirty="0"/>
              <a:t> </a:t>
            </a:r>
          </a:p>
        </p:txBody>
      </p:sp>
      <p:sp>
        <p:nvSpPr>
          <p:cNvPr id="2" name="Title 1">
            <a:extLst>
              <a:ext uri="{FF2B5EF4-FFF2-40B4-BE49-F238E27FC236}">
                <a16:creationId xmlns:a16="http://schemas.microsoft.com/office/drawing/2014/main" id="{3A3274FD-7E82-419D-A01F-AE38115CAB87}"/>
              </a:ext>
            </a:extLst>
          </p:cNvPr>
          <p:cNvSpPr>
            <a:spLocks noGrp="1"/>
          </p:cNvSpPr>
          <p:nvPr>
            <p:ph type="title"/>
          </p:nvPr>
        </p:nvSpPr>
        <p:spPr/>
        <p:txBody>
          <a:bodyPr/>
          <a:lstStyle/>
          <a:p>
            <a:r>
              <a:rPr lang="en-US" dirty="0"/>
              <a:t>Stealing credentials</a:t>
            </a:r>
          </a:p>
        </p:txBody>
      </p:sp>
      <p:pic>
        <p:nvPicPr>
          <p:cNvPr id="9" name="Picture 8" descr="A close up of a sign&#10;&#10;Description automatically generated">
            <a:extLst>
              <a:ext uri="{FF2B5EF4-FFF2-40B4-BE49-F238E27FC236}">
                <a16:creationId xmlns:a16="http://schemas.microsoft.com/office/drawing/2014/main" id="{25394497-8509-6046-BFDB-80FD3FDB8B5F}"/>
              </a:ext>
            </a:extLst>
          </p:cNvPr>
          <p:cNvPicPr>
            <a:picLocks noChangeAspect="1"/>
          </p:cNvPicPr>
          <p:nvPr/>
        </p:nvPicPr>
        <p:blipFill>
          <a:blip r:embed="rId3"/>
          <a:stretch>
            <a:fillRect/>
          </a:stretch>
        </p:blipFill>
        <p:spPr>
          <a:xfrm>
            <a:off x="4572000" y="1261597"/>
            <a:ext cx="4488430" cy="2620306"/>
          </a:xfrm>
          <a:prstGeom prst="rect">
            <a:avLst/>
          </a:prstGeom>
        </p:spPr>
      </p:pic>
    </p:spTree>
    <p:extLst>
      <p:ext uri="{BB962C8B-B14F-4D97-AF65-F5344CB8AC3E}">
        <p14:creationId xmlns:p14="http://schemas.microsoft.com/office/powerpoint/2010/main" val="1795801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A97499-69F9-488B-8764-D5505BC00F77}"/>
              </a:ext>
            </a:extLst>
          </p:cNvPr>
          <p:cNvSpPr>
            <a:spLocks noGrp="1"/>
          </p:cNvSpPr>
          <p:nvPr>
            <p:ph type="body" sz="quarter" idx="10"/>
          </p:nvPr>
        </p:nvSpPr>
        <p:spPr/>
        <p:txBody>
          <a:bodyPr/>
          <a:lstStyle/>
          <a:p>
            <a:r>
              <a:rPr lang="en-US" dirty="0"/>
              <a:t>There are a variety of places in OSes where credentials are stored for everyday operation. </a:t>
            </a:r>
          </a:p>
          <a:p>
            <a:r>
              <a:rPr lang="en-US" dirty="0"/>
              <a:t>OSes reduce the number of times a user enters their password. </a:t>
            </a:r>
          </a:p>
          <a:p>
            <a:r>
              <a:rPr lang="en-US" dirty="0"/>
              <a:t>If an attacker can gain access to a system, they can attempt to locate, copy, and “dump” the credentials.</a:t>
            </a:r>
          </a:p>
        </p:txBody>
      </p:sp>
      <p:sp>
        <p:nvSpPr>
          <p:cNvPr id="2" name="Title 1">
            <a:extLst>
              <a:ext uri="{FF2B5EF4-FFF2-40B4-BE49-F238E27FC236}">
                <a16:creationId xmlns:a16="http://schemas.microsoft.com/office/drawing/2014/main" id="{3A3274FD-7E82-419D-A01F-AE38115CAB87}"/>
              </a:ext>
            </a:extLst>
          </p:cNvPr>
          <p:cNvSpPr>
            <a:spLocks noGrp="1"/>
          </p:cNvSpPr>
          <p:nvPr>
            <p:ph type="title"/>
          </p:nvPr>
        </p:nvSpPr>
        <p:spPr/>
        <p:txBody>
          <a:bodyPr/>
          <a:lstStyle/>
          <a:p>
            <a:r>
              <a:rPr lang="en-US" dirty="0"/>
              <a:t>Credential caching</a:t>
            </a:r>
          </a:p>
        </p:txBody>
      </p:sp>
      <p:pic>
        <p:nvPicPr>
          <p:cNvPr id="11" name="Picture 10" descr="A close up of a light&#10;&#10;Description automatically generated">
            <a:extLst>
              <a:ext uri="{FF2B5EF4-FFF2-40B4-BE49-F238E27FC236}">
                <a16:creationId xmlns:a16="http://schemas.microsoft.com/office/drawing/2014/main" id="{48DDF0E1-BA8A-3946-BC2E-2295628351BD}"/>
              </a:ext>
            </a:extLst>
          </p:cNvPr>
          <p:cNvPicPr>
            <a:picLocks noChangeAspect="1"/>
          </p:cNvPicPr>
          <p:nvPr/>
        </p:nvPicPr>
        <p:blipFill>
          <a:blip r:embed="rId3"/>
          <a:stretch>
            <a:fillRect/>
          </a:stretch>
        </p:blipFill>
        <p:spPr>
          <a:xfrm>
            <a:off x="4537881" y="0"/>
            <a:ext cx="4606119" cy="5143500"/>
          </a:xfrm>
          <a:prstGeom prst="rect">
            <a:avLst/>
          </a:prstGeom>
        </p:spPr>
      </p:pic>
    </p:spTree>
    <p:extLst>
      <p:ext uri="{BB962C8B-B14F-4D97-AF65-F5344CB8AC3E}">
        <p14:creationId xmlns:p14="http://schemas.microsoft.com/office/powerpoint/2010/main" val="2367249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DA97499-69F9-488B-8764-D5505BC00F77}"/>
              </a:ext>
            </a:extLst>
          </p:cNvPr>
          <p:cNvSpPr>
            <a:spLocks noGrp="1"/>
          </p:cNvSpPr>
          <p:nvPr>
            <p:ph type="body" sz="quarter" idx="10"/>
          </p:nvPr>
        </p:nvSpPr>
        <p:spPr/>
        <p:txBody>
          <a:bodyPr/>
          <a:lstStyle/>
          <a:p>
            <a:r>
              <a:rPr lang="en-US" dirty="0"/>
              <a:t>There are several tools an attacker can wield to steal credentials. </a:t>
            </a:r>
          </a:p>
          <a:p>
            <a:r>
              <a:rPr lang="en-US" dirty="0"/>
              <a:t>Most popular credential dumping tool is Mimikatz. </a:t>
            </a:r>
          </a:p>
          <a:p>
            <a:r>
              <a:rPr lang="en-US" dirty="0"/>
              <a:t>Mimikatz is an important tool </a:t>
            </a:r>
            <a:br>
              <a:rPr lang="en-US" dirty="0"/>
            </a:br>
            <a:r>
              <a:rPr lang="en-US" dirty="0"/>
              <a:t>for pen testers.</a:t>
            </a:r>
          </a:p>
          <a:p>
            <a:r>
              <a:rPr lang="en-US" dirty="0"/>
              <a:t>Unfortunately also popular with malicious actors.</a:t>
            </a:r>
          </a:p>
        </p:txBody>
      </p:sp>
      <p:sp>
        <p:nvSpPr>
          <p:cNvPr id="2" name="Title 1">
            <a:extLst>
              <a:ext uri="{FF2B5EF4-FFF2-40B4-BE49-F238E27FC236}">
                <a16:creationId xmlns:a16="http://schemas.microsoft.com/office/drawing/2014/main" id="{3A3274FD-7E82-419D-A01F-AE38115CAB87}"/>
              </a:ext>
            </a:extLst>
          </p:cNvPr>
          <p:cNvSpPr>
            <a:spLocks noGrp="1"/>
          </p:cNvSpPr>
          <p:nvPr>
            <p:ph type="title"/>
          </p:nvPr>
        </p:nvSpPr>
        <p:spPr/>
        <p:txBody>
          <a:bodyPr/>
          <a:lstStyle/>
          <a:p>
            <a:r>
              <a:rPr lang="en-US" dirty="0"/>
              <a:t>Tools of the trade</a:t>
            </a:r>
          </a:p>
        </p:txBody>
      </p:sp>
      <p:sp>
        <p:nvSpPr>
          <p:cNvPr id="5" name="Rectangle 4">
            <a:extLst>
              <a:ext uri="{FF2B5EF4-FFF2-40B4-BE49-F238E27FC236}">
                <a16:creationId xmlns:a16="http://schemas.microsoft.com/office/drawing/2014/main" id="{FA802106-F854-0A48-8432-39611ED034D7}"/>
              </a:ext>
            </a:extLst>
          </p:cNvPr>
          <p:cNvSpPr/>
          <p:nvPr/>
        </p:nvSpPr>
        <p:spPr>
          <a:xfrm>
            <a:off x="4419599" y="2028179"/>
            <a:ext cx="4655649" cy="1031279"/>
          </a:xfrm>
          <a:prstGeom prst="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 name="TextBox 3">
            <a:extLst>
              <a:ext uri="{FF2B5EF4-FFF2-40B4-BE49-F238E27FC236}">
                <a16:creationId xmlns:a16="http://schemas.microsoft.com/office/drawing/2014/main" id="{A58AC1E7-CAFC-F14B-9536-8B6726976954}"/>
              </a:ext>
            </a:extLst>
          </p:cNvPr>
          <p:cNvSpPr txBox="1"/>
          <p:nvPr/>
        </p:nvSpPr>
        <p:spPr>
          <a:xfrm>
            <a:off x="4427621" y="2076973"/>
            <a:ext cx="4716379"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 mimikatz 2.0 alpha (x86) release "Kiwi </a:t>
            </a:r>
            <a:r>
              <a:rPr kumimoji="0" lang="en-US" sz="800" b="0" i="0" u="none" strike="noStrike" kern="1200" cap="none" spc="0" normalizeH="0" baseline="0" noProof="0" dirty="0" err="1">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en</a:t>
            </a: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C" (Apr 6 2014 22:02:03)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 \ ## /* * *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 / ##  Benjamin DELPY `gentilkiwi` ( benjamin@gentilkiwi.com )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v ##’  http://blog.gentilkiwi.com/mimikatz (</a:t>
            </a:r>
            <a:r>
              <a:rPr kumimoji="0" lang="en-US" sz="800" b="0" i="0" u="none" strike="noStrike" kern="1200" cap="none" spc="0" normalizeH="0" baseline="0" noProof="0" dirty="0" err="1">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oe.eo</a:t>
            </a: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ourier New" panose="02070309020205020404" pitchFamily="49" charset="0"/>
                <a:ea typeface="ＭＳ Ｐゴシック" charset="0"/>
                <a:cs typeface="Courier New" panose="02070309020205020404" pitchFamily="49" charset="0"/>
              </a:rPr>
              <a:t> '#####’ 				      with 13 modules * * */ 	</a:t>
            </a:r>
          </a:p>
        </p:txBody>
      </p:sp>
    </p:spTree>
    <p:extLst>
      <p:ext uri="{BB962C8B-B14F-4D97-AF65-F5344CB8AC3E}">
        <p14:creationId xmlns:p14="http://schemas.microsoft.com/office/powerpoint/2010/main" val="656827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text, electronics&#10;&#10;Description automatically generated">
            <a:extLst>
              <a:ext uri="{FF2B5EF4-FFF2-40B4-BE49-F238E27FC236}">
                <a16:creationId xmlns:a16="http://schemas.microsoft.com/office/drawing/2014/main" id="{55E4759F-43C6-FE4B-999A-FB1D12067E22}"/>
              </a:ext>
            </a:extLst>
          </p:cNvPr>
          <p:cNvPicPr>
            <a:picLocks noChangeAspect="1"/>
          </p:cNvPicPr>
          <p:nvPr/>
        </p:nvPicPr>
        <p:blipFill>
          <a:blip r:embed="rId3"/>
          <a:stretch>
            <a:fillRect/>
          </a:stretch>
        </p:blipFill>
        <p:spPr>
          <a:xfrm>
            <a:off x="5379920" y="2006964"/>
            <a:ext cx="3581400" cy="3281680"/>
          </a:xfrm>
          <a:prstGeom prst="rect">
            <a:avLst/>
          </a:prstGeom>
        </p:spPr>
      </p:pic>
      <p:sp>
        <p:nvSpPr>
          <p:cNvPr id="7" name="Subtitle 6">
            <a:extLst>
              <a:ext uri="{FF2B5EF4-FFF2-40B4-BE49-F238E27FC236}">
                <a16:creationId xmlns:a16="http://schemas.microsoft.com/office/drawing/2014/main" id="{AAA6E0B8-819A-0547-AF16-C93443100DB4}"/>
              </a:ext>
            </a:extLst>
          </p:cNvPr>
          <p:cNvSpPr>
            <a:spLocks noGrp="1"/>
          </p:cNvSpPr>
          <p:nvPr>
            <p:ph type="subTitle" idx="1"/>
          </p:nvPr>
        </p:nvSpPr>
        <p:spPr>
          <a:xfrm>
            <a:off x="425765" y="3856736"/>
            <a:ext cx="5023464" cy="288131"/>
          </a:xfrm>
        </p:spPr>
        <p:txBody>
          <a:bodyPr/>
          <a:lstStyle/>
          <a:p>
            <a:endParaRPr lang="en-US"/>
          </a:p>
        </p:txBody>
      </p:sp>
      <p:sp>
        <p:nvSpPr>
          <p:cNvPr id="8" name="Text Placeholder 7">
            <a:extLst>
              <a:ext uri="{FF2B5EF4-FFF2-40B4-BE49-F238E27FC236}">
                <a16:creationId xmlns:a16="http://schemas.microsoft.com/office/drawing/2014/main" id="{896ECB1C-68FA-E84E-827D-6F1CFCFABE98}"/>
              </a:ext>
            </a:extLst>
          </p:cNvPr>
          <p:cNvSpPr>
            <a:spLocks noGrp="1"/>
          </p:cNvSpPr>
          <p:nvPr>
            <p:ph type="body" sz="quarter" idx="11"/>
          </p:nvPr>
        </p:nvSpPr>
        <p:spPr>
          <a:xfrm>
            <a:off x="425765" y="4102749"/>
            <a:ext cx="5023464" cy="288131"/>
          </a:xfrm>
        </p:spPr>
        <p:txBody>
          <a:bodyPr/>
          <a:lstStyle/>
          <a:p>
            <a:endParaRPr lang="en-US" dirty="0"/>
          </a:p>
        </p:txBody>
      </p:sp>
      <p:sp>
        <p:nvSpPr>
          <p:cNvPr id="9" name="Text Placeholder 8">
            <a:extLst>
              <a:ext uri="{FF2B5EF4-FFF2-40B4-BE49-F238E27FC236}">
                <a16:creationId xmlns:a16="http://schemas.microsoft.com/office/drawing/2014/main" id="{C37A21EE-9BA0-EA4D-950E-8F3EC05A5A7C}"/>
              </a:ext>
            </a:extLst>
          </p:cNvPr>
          <p:cNvSpPr>
            <a:spLocks noGrp="1"/>
          </p:cNvSpPr>
          <p:nvPr>
            <p:ph type="body" sz="quarter" idx="12"/>
          </p:nvPr>
        </p:nvSpPr>
        <p:spPr>
          <a:xfrm>
            <a:off x="425765" y="4348762"/>
            <a:ext cx="5023464" cy="288131"/>
          </a:xfrm>
        </p:spPr>
        <p:txBody>
          <a:bodyPr/>
          <a:lstStyle/>
          <a:p>
            <a:endParaRPr lang="en-US"/>
          </a:p>
        </p:txBody>
      </p:sp>
      <p:sp>
        <p:nvSpPr>
          <p:cNvPr id="5" name="Text Placeholder 4">
            <a:extLst>
              <a:ext uri="{FF2B5EF4-FFF2-40B4-BE49-F238E27FC236}">
                <a16:creationId xmlns:a16="http://schemas.microsoft.com/office/drawing/2014/main" id="{FF1F0B12-2023-9341-A897-9286644D7212}"/>
              </a:ext>
            </a:extLst>
          </p:cNvPr>
          <p:cNvSpPr>
            <a:spLocks noGrp="1"/>
          </p:cNvSpPr>
          <p:nvPr>
            <p:ph type="body" sz="quarter" idx="13"/>
          </p:nvPr>
        </p:nvSpPr>
        <p:spPr/>
        <p:txBody>
          <a:bodyPr/>
          <a:lstStyle/>
          <a:p>
            <a:r>
              <a:rPr lang="en-US" dirty="0"/>
              <a:t>Threat Protection</a:t>
            </a:r>
          </a:p>
        </p:txBody>
      </p:sp>
      <p:sp>
        <p:nvSpPr>
          <p:cNvPr id="6" name="Title 5">
            <a:extLst>
              <a:ext uri="{FF2B5EF4-FFF2-40B4-BE49-F238E27FC236}">
                <a16:creationId xmlns:a16="http://schemas.microsoft.com/office/drawing/2014/main" id="{D8752293-6935-8C47-A37E-04F9EBCD940A}"/>
              </a:ext>
            </a:extLst>
          </p:cNvPr>
          <p:cNvSpPr>
            <a:spLocks noGrp="1"/>
          </p:cNvSpPr>
          <p:nvPr>
            <p:ph type="ctrTitle"/>
          </p:nvPr>
        </p:nvSpPr>
        <p:spPr/>
        <p:txBody>
          <a:bodyPr/>
          <a:lstStyle/>
          <a:p>
            <a:r>
              <a:rPr lang="en-US" dirty="0"/>
              <a:t>The REvil ransomware</a:t>
            </a:r>
          </a:p>
        </p:txBody>
      </p:sp>
      <p:pic>
        <p:nvPicPr>
          <p:cNvPr id="11" name="Picture 10" descr="A picture containing text, electronics, computer, silver&#10;&#10;Description automatically generated">
            <a:extLst>
              <a:ext uri="{FF2B5EF4-FFF2-40B4-BE49-F238E27FC236}">
                <a16:creationId xmlns:a16="http://schemas.microsoft.com/office/drawing/2014/main" id="{3871E407-B9E6-7D4A-9F27-7C9F0534440B}"/>
              </a:ext>
            </a:extLst>
          </p:cNvPr>
          <p:cNvPicPr>
            <a:picLocks noChangeAspect="1"/>
          </p:cNvPicPr>
          <p:nvPr/>
        </p:nvPicPr>
        <p:blipFill>
          <a:blip r:embed="rId4"/>
          <a:stretch>
            <a:fillRect/>
          </a:stretch>
        </p:blipFill>
        <p:spPr>
          <a:xfrm>
            <a:off x="2934017" y="113665"/>
            <a:ext cx="3275965" cy="2458085"/>
          </a:xfrm>
          <a:prstGeom prst="rect">
            <a:avLst/>
          </a:prstGeom>
        </p:spPr>
      </p:pic>
    </p:spTree>
    <p:extLst>
      <p:ext uri="{BB962C8B-B14F-4D97-AF65-F5344CB8AC3E}">
        <p14:creationId xmlns:p14="http://schemas.microsoft.com/office/powerpoint/2010/main" val="2129916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4B7463-CD3E-2241-8146-44033555C12F}"/>
              </a:ext>
            </a:extLst>
          </p:cNvPr>
          <p:cNvSpPr>
            <a:spLocks noGrp="1"/>
          </p:cNvSpPr>
          <p:nvPr>
            <p:ph type="title"/>
          </p:nvPr>
        </p:nvSpPr>
        <p:spPr/>
        <p:txBody>
          <a:bodyPr/>
          <a:lstStyle/>
          <a:p>
            <a:r>
              <a:rPr lang="en-US" dirty="0"/>
              <a:t>The REvil ransomware</a:t>
            </a:r>
          </a:p>
        </p:txBody>
      </p:sp>
      <p:sp>
        <p:nvSpPr>
          <p:cNvPr id="9" name="Text Placeholder 8">
            <a:extLst>
              <a:ext uri="{FF2B5EF4-FFF2-40B4-BE49-F238E27FC236}">
                <a16:creationId xmlns:a16="http://schemas.microsoft.com/office/drawing/2014/main" id="{461640F3-27AC-4240-B747-F7274C35D6D5}"/>
              </a:ext>
            </a:extLst>
          </p:cNvPr>
          <p:cNvSpPr>
            <a:spLocks noGrp="1"/>
          </p:cNvSpPr>
          <p:nvPr>
            <p:ph type="body" sz="quarter" idx="11"/>
          </p:nvPr>
        </p:nvSpPr>
        <p:spPr>
          <a:xfrm>
            <a:off x="437766" y="1204180"/>
            <a:ext cx="3797350" cy="3324225"/>
          </a:xfrm>
        </p:spPr>
        <p:txBody>
          <a:bodyPr/>
          <a:lstStyle/>
          <a:p>
            <a:r>
              <a:rPr lang="en-US" dirty="0"/>
              <a:t>Ransomware family involved in high-profile attacks.</a:t>
            </a:r>
          </a:p>
          <a:p>
            <a:r>
              <a:rPr lang="en-US" dirty="0"/>
              <a:t>Part of a ransomware-as-a-service model.</a:t>
            </a:r>
          </a:p>
          <a:p>
            <a:r>
              <a:rPr lang="en-US" dirty="0"/>
              <a:t>Revisited metric on DNS activity</a:t>
            </a:r>
          </a:p>
          <a:p>
            <a:pPr lvl="1"/>
            <a:r>
              <a:rPr lang="en-US" dirty="0"/>
              <a:t>Number of endpoints similar in 2021</a:t>
            </a:r>
          </a:p>
          <a:p>
            <a:pPr lvl="1"/>
            <a:r>
              <a:rPr lang="en-US" dirty="0"/>
              <a:t>Dramatic rise in DNS activity</a:t>
            </a:r>
          </a:p>
        </p:txBody>
      </p:sp>
      <p:pic>
        <p:nvPicPr>
          <p:cNvPr id="19" name="Picture 18">
            <a:extLst>
              <a:ext uri="{FF2B5EF4-FFF2-40B4-BE49-F238E27FC236}">
                <a16:creationId xmlns:a16="http://schemas.microsoft.com/office/drawing/2014/main" id="{A92D7C74-3206-FA47-BFAA-9072AB145BE3}"/>
              </a:ext>
            </a:extLst>
          </p:cNvPr>
          <p:cNvPicPr>
            <a:picLocks noChangeAspect="1"/>
          </p:cNvPicPr>
          <p:nvPr/>
        </p:nvPicPr>
        <p:blipFill>
          <a:blip r:embed="rId3"/>
          <a:srcRect/>
          <a:stretch/>
        </p:blipFill>
        <p:spPr>
          <a:xfrm>
            <a:off x="4340994" y="1388186"/>
            <a:ext cx="4442260" cy="2961506"/>
          </a:xfrm>
          <a:prstGeom prst="rect">
            <a:avLst/>
          </a:prstGeom>
        </p:spPr>
      </p:pic>
    </p:spTree>
    <p:extLst>
      <p:ext uri="{BB962C8B-B14F-4D97-AF65-F5344CB8AC3E}">
        <p14:creationId xmlns:p14="http://schemas.microsoft.com/office/powerpoint/2010/main" val="28499264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4B7463-CD3E-2241-8146-44033555C12F}"/>
              </a:ext>
            </a:extLst>
          </p:cNvPr>
          <p:cNvSpPr>
            <a:spLocks noGrp="1"/>
          </p:cNvSpPr>
          <p:nvPr>
            <p:ph type="title"/>
          </p:nvPr>
        </p:nvSpPr>
        <p:spPr/>
        <p:txBody>
          <a:bodyPr/>
          <a:lstStyle/>
          <a:p>
            <a:r>
              <a:rPr lang="en-US" dirty="0"/>
              <a:t>The REvil ransomware</a:t>
            </a:r>
          </a:p>
        </p:txBody>
      </p:sp>
      <p:sp>
        <p:nvSpPr>
          <p:cNvPr id="9" name="Text Placeholder 8">
            <a:extLst>
              <a:ext uri="{FF2B5EF4-FFF2-40B4-BE49-F238E27FC236}">
                <a16:creationId xmlns:a16="http://schemas.microsoft.com/office/drawing/2014/main" id="{461640F3-27AC-4240-B747-F7274C35D6D5}"/>
              </a:ext>
            </a:extLst>
          </p:cNvPr>
          <p:cNvSpPr>
            <a:spLocks noGrp="1"/>
          </p:cNvSpPr>
          <p:nvPr>
            <p:ph type="body" sz="quarter" idx="11"/>
          </p:nvPr>
        </p:nvSpPr>
        <p:spPr>
          <a:xfrm>
            <a:off x="437766" y="1204180"/>
            <a:ext cx="3797350" cy="3324225"/>
          </a:xfrm>
        </p:spPr>
        <p:txBody>
          <a:bodyPr/>
          <a:lstStyle/>
          <a:p>
            <a:r>
              <a:rPr lang="en-US" dirty="0"/>
              <a:t>How does REvil take control of a system?</a:t>
            </a:r>
          </a:p>
          <a:p>
            <a:r>
              <a:rPr lang="en-US" dirty="0"/>
              <a:t>Functionality varies though end result largely the same.</a:t>
            </a:r>
          </a:p>
          <a:p>
            <a:r>
              <a:rPr lang="en-US" dirty="0"/>
              <a:t>We used Cisco Secure Malware Analytics to look at samples.</a:t>
            </a:r>
          </a:p>
        </p:txBody>
      </p:sp>
      <p:pic>
        <p:nvPicPr>
          <p:cNvPr id="19" name="Picture 18" descr="A screenshot of a computer&#10;&#10;Description automatically generated">
            <a:extLst>
              <a:ext uri="{FF2B5EF4-FFF2-40B4-BE49-F238E27FC236}">
                <a16:creationId xmlns:a16="http://schemas.microsoft.com/office/drawing/2014/main" id="{A92D7C74-3206-FA47-BFAA-9072AB145BE3}"/>
              </a:ext>
            </a:extLst>
          </p:cNvPr>
          <p:cNvPicPr>
            <a:picLocks noChangeAspect="1"/>
          </p:cNvPicPr>
          <p:nvPr/>
        </p:nvPicPr>
        <p:blipFill>
          <a:blip r:embed="rId3"/>
          <a:stretch>
            <a:fillRect/>
          </a:stretch>
        </p:blipFill>
        <p:spPr>
          <a:xfrm>
            <a:off x="4340994" y="1204179"/>
            <a:ext cx="4442260" cy="3329521"/>
          </a:xfrm>
          <a:prstGeom prst="rect">
            <a:avLst/>
          </a:prstGeom>
        </p:spPr>
      </p:pic>
    </p:spTree>
    <p:extLst>
      <p:ext uri="{BB962C8B-B14F-4D97-AF65-F5344CB8AC3E}">
        <p14:creationId xmlns:p14="http://schemas.microsoft.com/office/powerpoint/2010/main" val="1957410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Creates a mutex</a:t>
            </a:r>
          </a:p>
        </p:txBody>
      </p:sp>
      <p:pic>
        <p:nvPicPr>
          <p:cNvPr id="10" name="Picture 9" descr="Graphical user interface, text, application&#10;&#10;Description automatically generated">
            <a:extLst>
              <a:ext uri="{FF2B5EF4-FFF2-40B4-BE49-F238E27FC236}">
                <a16:creationId xmlns:a16="http://schemas.microsoft.com/office/drawing/2014/main" id="{DDF59F65-5A7D-FA44-8BF0-822319C0F06B}"/>
              </a:ext>
            </a:extLst>
          </p:cNvPr>
          <p:cNvPicPr>
            <a:picLocks noChangeAspect="1"/>
          </p:cNvPicPr>
          <p:nvPr/>
        </p:nvPicPr>
        <p:blipFill>
          <a:blip r:embed="rId3"/>
          <a:stretch>
            <a:fillRect/>
          </a:stretch>
        </p:blipFill>
        <p:spPr>
          <a:xfrm>
            <a:off x="583565" y="1234123"/>
            <a:ext cx="7976870" cy="2675255"/>
          </a:xfrm>
          <a:prstGeom prst="rect">
            <a:avLst/>
          </a:prstGeom>
        </p:spPr>
      </p:pic>
    </p:spTree>
    <p:extLst>
      <p:ext uri="{BB962C8B-B14F-4D97-AF65-F5344CB8AC3E}">
        <p14:creationId xmlns:p14="http://schemas.microsoft.com/office/powerpoint/2010/main" val="450598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Establishes persistence</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1856232" y="1112520"/>
            <a:ext cx="5801360" cy="3119120"/>
          </a:xfrm>
          <a:prstGeom prst="rect">
            <a:avLst/>
          </a:prstGeom>
        </p:spPr>
      </p:pic>
    </p:spTree>
    <p:extLst>
      <p:ext uri="{BB962C8B-B14F-4D97-AF65-F5344CB8AC3E}">
        <p14:creationId xmlns:p14="http://schemas.microsoft.com/office/powerpoint/2010/main" val="547133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Stopping processes and service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237793" y="1341162"/>
            <a:ext cx="4248295" cy="2890478"/>
          </a:xfrm>
          <a:prstGeom prst="rect">
            <a:avLst/>
          </a:prstGeom>
        </p:spPr>
      </p:pic>
      <p:pic>
        <p:nvPicPr>
          <p:cNvPr id="4" name="Picture 3" descr="A screenshot of a computer&#10;&#10;Description automatically generated with medium confidence">
            <a:extLst>
              <a:ext uri="{FF2B5EF4-FFF2-40B4-BE49-F238E27FC236}">
                <a16:creationId xmlns:a16="http://schemas.microsoft.com/office/drawing/2014/main" id="{EAB0D81E-B05E-CA41-8921-9DDDB9DF11E7}"/>
              </a:ext>
            </a:extLst>
          </p:cNvPr>
          <p:cNvPicPr>
            <a:picLocks noChangeAspect="1"/>
          </p:cNvPicPr>
          <p:nvPr/>
        </p:nvPicPr>
        <p:blipFill>
          <a:blip r:embed="rId4"/>
          <a:stretch>
            <a:fillRect/>
          </a:stretch>
        </p:blipFill>
        <p:spPr>
          <a:xfrm>
            <a:off x="4657914" y="1341162"/>
            <a:ext cx="4248296" cy="2890478"/>
          </a:xfrm>
          <a:prstGeom prst="rect">
            <a:avLst/>
          </a:prstGeom>
        </p:spPr>
      </p:pic>
    </p:spTree>
    <p:extLst>
      <p:ext uri="{BB962C8B-B14F-4D97-AF65-F5344CB8AC3E}">
        <p14:creationId xmlns:p14="http://schemas.microsoft.com/office/powerpoint/2010/main" val="3347088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Placeholder 66">
            <a:extLst>
              <a:ext uri="{FF2B5EF4-FFF2-40B4-BE49-F238E27FC236}">
                <a16:creationId xmlns:a16="http://schemas.microsoft.com/office/drawing/2014/main" id="{B2C44583-40B1-4EF0-8409-567643DC7DB4}"/>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t="38" b="38"/>
          <a:stretch/>
        </p:blipFill>
        <p:spPr>
          <a:xfrm>
            <a:off x="0" y="0"/>
            <a:ext cx="9147175" cy="5143500"/>
          </a:xfrm>
          <a:prstGeom prst="rect">
            <a:avLst/>
          </a:prstGeom>
        </p:spPr>
      </p:pic>
      <p:sp>
        <p:nvSpPr>
          <p:cNvPr id="24" name="Rectangle 23"/>
          <p:cNvSpPr/>
          <p:nvPr/>
        </p:nvSpPr>
        <p:spPr>
          <a:xfrm>
            <a:off x="0" y="0"/>
            <a:ext cx="9144000" cy="5143500"/>
          </a:xfrm>
          <a:prstGeom prst="rect">
            <a:avLst/>
          </a:prstGeom>
          <a:solidFill>
            <a:schemeClr val="tx2">
              <a:lumMod val="50000"/>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grpSp>
        <p:nvGrpSpPr>
          <p:cNvPr id="3" name="Group 2">
            <a:extLst>
              <a:ext uri="{FF2B5EF4-FFF2-40B4-BE49-F238E27FC236}">
                <a16:creationId xmlns:a16="http://schemas.microsoft.com/office/drawing/2014/main" id="{C7F0F400-406A-7348-8C84-607B3D1D5AD9}"/>
              </a:ext>
            </a:extLst>
          </p:cNvPr>
          <p:cNvGrpSpPr/>
          <p:nvPr/>
        </p:nvGrpSpPr>
        <p:grpSpPr>
          <a:xfrm>
            <a:off x="2738696" y="575991"/>
            <a:ext cx="875499" cy="369332"/>
            <a:chOff x="1160780" y="4291085"/>
            <a:chExt cx="875499" cy="369332"/>
          </a:xfrm>
        </p:grpSpPr>
        <p:sp>
          <p:nvSpPr>
            <p:cNvPr id="7" name="Rectangle 6">
              <a:extLst>
                <a:ext uri="{FF2B5EF4-FFF2-40B4-BE49-F238E27FC236}">
                  <a16:creationId xmlns:a16="http://schemas.microsoft.com/office/drawing/2014/main" id="{ECB74051-29F4-3344-889D-28308528316C}"/>
                </a:ext>
              </a:extLst>
            </p:cNvPr>
            <p:cNvSpPr/>
            <p:nvPr/>
          </p:nvSpPr>
          <p:spPr>
            <a:xfrm>
              <a:off x="1247280" y="4291085"/>
              <a:ext cx="788999"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DoS</a:t>
              </a:r>
            </a:p>
          </p:txBody>
        </p:sp>
        <p:sp>
          <p:nvSpPr>
            <p:cNvPr id="46" name="Freeform 5">
              <a:extLst>
                <a:ext uri="{FF2B5EF4-FFF2-40B4-BE49-F238E27FC236}">
                  <a16:creationId xmlns:a16="http://schemas.microsoft.com/office/drawing/2014/main" id="{467A871A-E7F1-AF49-9EA9-F136B2C8A992}"/>
                </a:ext>
              </a:extLst>
            </p:cNvPr>
            <p:cNvSpPr>
              <a:spLocks/>
            </p:cNvSpPr>
            <p:nvPr/>
          </p:nvSpPr>
          <p:spPr bwMode="auto">
            <a:xfrm flipH="1">
              <a:off x="1160780" y="4395071"/>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CiscoSansTT ExtraLight"/>
                <a:ea typeface="ＭＳ Ｐゴシック" charset="0"/>
              </a:endParaRPr>
            </a:p>
          </p:txBody>
        </p:sp>
      </p:grpSp>
      <p:grpSp>
        <p:nvGrpSpPr>
          <p:cNvPr id="4" name="Group 3">
            <a:extLst>
              <a:ext uri="{FF2B5EF4-FFF2-40B4-BE49-F238E27FC236}">
                <a16:creationId xmlns:a16="http://schemas.microsoft.com/office/drawing/2014/main" id="{92928B8B-9A54-294F-BC90-4922097D1237}"/>
              </a:ext>
            </a:extLst>
          </p:cNvPr>
          <p:cNvGrpSpPr/>
          <p:nvPr/>
        </p:nvGrpSpPr>
        <p:grpSpPr>
          <a:xfrm>
            <a:off x="6181603" y="1374282"/>
            <a:ext cx="2013393" cy="369332"/>
            <a:chOff x="939917" y="3794611"/>
            <a:chExt cx="2013393" cy="369332"/>
          </a:xfrm>
        </p:grpSpPr>
        <p:sp>
          <p:nvSpPr>
            <p:cNvPr id="18" name="Rectangle 17">
              <a:extLst>
                <a:ext uri="{FF2B5EF4-FFF2-40B4-BE49-F238E27FC236}">
                  <a16:creationId xmlns:a16="http://schemas.microsoft.com/office/drawing/2014/main" id="{74A6AFD9-BEF7-9C46-A664-14BB1C13772F}"/>
                </a:ext>
              </a:extLst>
            </p:cNvPr>
            <p:cNvSpPr/>
            <p:nvPr/>
          </p:nvSpPr>
          <p:spPr>
            <a:xfrm>
              <a:off x="1013355" y="3794611"/>
              <a:ext cx="1939955"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ata Destruction</a:t>
              </a: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48" name="Freeform 5">
              <a:extLst>
                <a:ext uri="{FF2B5EF4-FFF2-40B4-BE49-F238E27FC236}">
                  <a16:creationId xmlns:a16="http://schemas.microsoft.com/office/drawing/2014/main" id="{82BAE088-4745-1B49-B8B3-527C7507490B}"/>
                </a:ext>
              </a:extLst>
            </p:cNvPr>
            <p:cNvSpPr>
              <a:spLocks/>
            </p:cNvSpPr>
            <p:nvPr/>
          </p:nvSpPr>
          <p:spPr bwMode="auto">
            <a:xfrm flipH="1">
              <a:off x="939917" y="3898596"/>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5" name="Group 4">
            <a:extLst>
              <a:ext uri="{FF2B5EF4-FFF2-40B4-BE49-F238E27FC236}">
                <a16:creationId xmlns:a16="http://schemas.microsoft.com/office/drawing/2014/main" id="{E97C2403-20DD-2F4B-8DF7-679125499636}"/>
              </a:ext>
            </a:extLst>
          </p:cNvPr>
          <p:cNvGrpSpPr/>
          <p:nvPr/>
        </p:nvGrpSpPr>
        <p:grpSpPr>
          <a:xfrm>
            <a:off x="3911774" y="2544794"/>
            <a:ext cx="1852973" cy="369332"/>
            <a:chOff x="369463" y="3256747"/>
            <a:chExt cx="1852973" cy="369332"/>
          </a:xfrm>
        </p:grpSpPr>
        <p:sp>
          <p:nvSpPr>
            <p:cNvPr id="15" name="Rectangle 14">
              <a:extLst>
                <a:ext uri="{FF2B5EF4-FFF2-40B4-BE49-F238E27FC236}">
                  <a16:creationId xmlns:a16="http://schemas.microsoft.com/office/drawing/2014/main" id="{4451B98B-BC80-A643-9108-5F2BA3E6F258}"/>
                </a:ext>
              </a:extLst>
            </p:cNvPr>
            <p:cNvSpPr/>
            <p:nvPr/>
          </p:nvSpPr>
          <p:spPr>
            <a:xfrm>
              <a:off x="436370" y="3256747"/>
              <a:ext cx="1786066"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Monetary Theft</a:t>
              </a:r>
            </a:p>
          </p:txBody>
        </p:sp>
        <p:sp>
          <p:nvSpPr>
            <p:cNvPr id="50" name="Freeform 5">
              <a:extLst>
                <a:ext uri="{FF2B5EF4-FFF2-40B4-BE49-F238E27FC236}">
                  <a16:creationId xmlns:a16="http://schemas.microsoft.com/office/drawing/2014/main" id="{2AEDCA65-6282-5C45-936E-0AC393787BFE}"/>
                </a:ext>
              </a:extLst>
            </p:cNvPr>
            <p:cNvSpPr>
              <a:spLocks/>
            </p:cNvSpPr>
            <p:nvPr/>
          </p:nvSpPr>
          <p:spPr bwMode="auto">
            <a:xfrm flipH="1">
              <a:off x="369463" y="3360732"/>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11" name="Group 10">
            <a:extLst>
              <a:ext uri="{FF2B5EF4-FFF2-40B4-BE49-F238E27FC236}">
                <a16:creationId xmlns:a16="http://schemas.microsoft.com/office/drawing/2014/main" id="{5B5F814F-3E11-E54A-9064-9BA51E67641A}"/>
              </a:ext>
            </a:extLst>
          </p:cNvPr>
          <p:cNvGrpSpPr/>
          <p:nvPr/>
        </p:nvGrpSpPr>
        <p:grpSpPr>
          <a:xfrm>
            <a:off x="1389028" y="2480266"/>
            <a:ext cx="1133344" cy="369332"/>
            <a:chOff x="466623" y="2414477"/>
            <a:chExt cx="1133344" cy="369332"/>
          </a:xfrm>
        </p:grpSpPr>
        <p:sp>
          <p:nvSpPr>
            <p:cNvPr id="6" name="Rectangle 5">
              <a:extLst>
                <a:ext uri="{FF2B5EF4-FFF2-40B4-BE49-F238E27FC236}">
                  <a16:creationId xmlns:a16="http://schemas.microsoft.com/office/drawing/2014/main" id="{48444425-FFAA-1244-90D7-420237AA887B}"/>
                </a:ext>
              </a:extLst>
            </p:cNvPr>
            <p:cNvSpPr/>
            <p:nvPr/>
          </p:nvSpPr>
          <p:spPr>
            <a:xfrm>
              <a:off x="540061" y="2414477"/>
              <a:ext cx="1059906"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Phishing</a:t>
              </a:r>
            </a:p>
          </p:txBody>
        </p:sp>
        <p:sp>
          <p:nvSpPr>
            <p:cNvPr id="52" name="Freeform 5">
              <a:extLst>
                <a:ext uri="{FF2B5EF4-FFF2-40B4-BE49-F238E27FC236}">
                  <a16:creationId xmlns:a16="http://schemas.microsoft.com/office/drawing/2014/main" id="{EB8C5938-E9CD-7D4F-8934-502CFF2B2755}"/>
                </a:ext>
              </a:extLst>
            </p:cNvPr>
            <p:cNvSpPr>
              <a:spLocks/>
            </p:cNvSpPr>
            <p:nvPr/>
          </p:nvSpPr>
          <p:spPr bwMode="auto">
            <a:xfrm flipH="1">
              <a:off x="466623" y="2518463"/>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25" name="Group 24">
            <a:extLst>
              <a:ext uri="{FF2B5EF4-FFF2-40B4-BE49-F238E27FC236}">
                <a16:creationId xmlns:a16="http://schemas.microsoft.com/office/drawing/2014/main" id="{D38C9E02-93E1-2346-82E4-D36550273B86}"/>
              </a:ext>
            </a:extLst>
          </p:cNvPr>
          <p:cNvGrpSpPr/>
          <p:nvPr/>
        </p:nvGrpSpPr>
        <p:grpSpPr>
          <a:xfrm>
            <a:off x="3898810" y="3252481"/>
            <a:ext cx="2242558" cy="369332"/>
            <a:chOff x="5682242" y="4256731"/>
            <a:chExt cx="2242558" cy="369332"/>
          </a:xfrm>
        </p:grpSpPr>
        <p:sp>
          <p:nvSpPr>
            <p:cNvPr id="23" name="Rectangle 22">
              <a:extLst>
                <a:ext uri="{FF2B5EF4-FFF2-40B4-BE49-F238E27FC236}">
                  <a16:creationId xmlns:a16="http://schemas.microsoft.com/office/drawing/2014/main" id="{58C33BA5-E2A9-7648-9146-2B166F49CB54}"/>
                </a:ext>
              </a:extLst>
            </p:cNvPr>
            <p:cNvSpPr/>
            <p:nvPr/>
          </p:nvSpPr>
          <p:spPr>
            <a:xfrm>
              <a:off x="5761742" y="4256731"/>
              <a:ext cx="2163058" cy="369332"/>
            </a:xfrm>
            <a:prstGeom prst="rect">
              <a:avLst/>
            </a:prstGeom>
          </p:spPr>
          <p:txBody>
            <a:bodyPr wrap="squar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Rogue Software</a:t>
              </a: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54" name="Freeform 5">
              <a:extLst>
                <a:ext uri="{FF2B5EF4-FFF2-40B4-BE49-F238E27FC236}">
                  <a16:creationId xmlns:a16="http://schemas.microsoft.com/office/drawing/2014/main" id="{7F11DE9F-FF1E-BE40-A551-48919CEE1B84}"/>
                </a:ext>
              </a:extLst>
            </p:cNvPr>
            <p:cNvSpPr>
              <a:spLocks/>
            </p:cNvSpPr>
            <p:nvPr/>
          </p:nvSpPr>
          <p:spPr bwMode="auto">
            <a:xfrm flipH="1">
              <a:off x="5682242" y="4360717"/>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6" name="Group 35">
            <a:extLst>
              <a:ext uri="{FF2B5EF4-FFF2-40B4-BE49-F238E27FC236}">
                <a16:creationId xmlns:a16="http://schemas.microsoft.com/office/drawing/2014/main" id="{ECC15BD0-DF82-924F-A5E2-CA4E17CA9B74}"/>
              </a:ext>
            </a:extLst>
          </p:cNvPr>
          <p:cNvGrpSpPr/>
          <p:nvPr/>
        </p:nvGrpSpPr>
        <p:grpSpPr>
          <a:xfrm>
            <a:off x="4123652" y="3898157"/>
            <a:ext cx="2131388" cy="369332"/>
            <a:chOff x="2841100" y="4398197"/>
            <a:chExt cx="2131388" cy="369332"/>
          </a:xfrm>
        </p:grpSpPr>
        <p:sp>
          <p:nvSpPr>
            <p:cNvPr id="19" name="Rectangle 18">
              <a:extLst>
                <a:ext uri="{FF2B5EF4-FFF2-40B4-BE49-F238E27FC236}">
                  <a16:creationId xmlns:a16="http://schemas.microsoft.com/office/drawing/2014/main" id="{7E2D4C64-2C4A-DE44-858A-C7566989A555}"/>
                </a:ext>
              </a:extLst>
            </p:cNvPr>
            <p:cNvSpPr/>
            <p:nvPr/>
          </p:nvSpPr>
          <p:spPr>
            <a:xfrm>
              <a:off x="2907499" y="4398197"/>
              <a:ext cx="2064989"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Man in the Middle</a:t>
              </a:r>
            </a:p>
          </p:txBody>
        </p:sp>
        <p:sp>
          <p:nvSpPr>
            <p:cNvPr id="55" name="Freeform 5">
              <a:extLst>
                <a:ext uri="{FF2B5EF4-FFF2-40B4-BE49-F238E27FC236}">
                  <a16:creationId xmlns:a16="http://schemas.microsoft.com/office/drawing/2014/main" id="{1F1D21FA-747C-1F4A-B122-5F38BDF9D748}"/>
                </a:ext>
              </a:extLst>
            </p:cNvPr>
            <p:cNvSpPr>
              <a:spLocks/>
            </p:cNvSpPr>
            <p:nvPr/>
          </p:nvSpPr>
          <p:spPr bwMode="auto">
            <a:xfrm flipH="1">
              <a:off x="2841100" y="4502182"/>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26" name="Group 25">
            <a:extLst>
              <a:ext uri="{FF2B5EF4-FFF2-40B4-BE49-F238E27FC236}">
                <a16:creationId xmlns:a16="http://schemas.microsoft.com/office/drawing/2014/main" id="{8543791F-18A3-634A-8CEA-778CA9C2B9A8}"/>
              </a:ext>
            </a:extLst>
          </p:cNvPr>
          <p:cNvGrpSpPr/>
          <p:nvPr/>
        </p:nvGrpSpPr>
        <p:grpSpPr>
          <a:xfrm>
            <a:off x="7372509" y="4079660"/>
            <a:ext cx="1030855" cy="369332"/>
            <a:chOff x="3420369" y="3855955"/>
            <a:chExt cx="1030855" cy="369332"/>
          </a:xfrm>
        </p:grpSpPr>
        <p:sp>
          <p:nvSpPr>
            <p:cNvPr id="10" name="Rectangle 9">
              <a:extLst>
                <a:ext uri="{FF2B5EF4-FFF2-40B4-BE49-F238E27FC236}">
                  <a16:creationId xmlns:a16="http://schemas.microsoft.com/office/drawing/2014/main" id="{86481315-5DA3-C24A-BB09-30119B1FE0EA}"/>
                </a:ext>
              </a:extLst>
            </p:cNvPr>
            <p:cNvSpPr/>
            <p:nvPr/>
          </p:nvSpPr>
          <p:spPr>
            <a:xfrm>
              <a:off x="3493911" y="3855955"/>
              <a:ext cx="957313"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Trojans</a:t>
              </a:r>
            </a:p>
          </p:txBody>
        </p:sp>
        <p:sp>
          <p:nvSpPr>
            <p:cNvPr id="56" name="Freeform 5">
              <a:extLst>
                <a:ext uri="{FF2B5EF4-FFF2-40B4-BE49-F238E27FC236}">
                  <a16:creationId xmlns:a16="http://schemas.microsoft.com/office/drawing/2014/main" id="{03D3810E-42CE-EF46-AF42-3E8B295AF69E}"/>
                </a:ext>
              </a:extLst>
            </p:cNvPr>
            <p:cNvSpPr>
              <a:spLocks/>
            </p:cNvSpPr>
            <p:nvPr/>
          </p:nvSpPr>
          <p:spPr bwMode="auto">
            <a:xfrm flipH="1">
              <a:off x="3420369" y="3967614"/>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7" name="Group 36">
            <a:extLst>
              <a:ext uri="{FF2B5EF4-FFF2-40B4-BE49-F238E27FC236}">
                <a16:creationId xmlns:a16="http://schemas.microsoft.com/office/drawing/2014/main" id="{8B4C6704-3947-3F4F-A8C0-7AA31026E84C}"/>
              </a:ext>
            </a:extLst>
          </p:cNvPr>
          <p:cNvGrpSpPr/>
          <p:nvPr/>
        </p:nvGrpSpPr>
        <p:grpSpPr>
          <a:xfrm>
            <a:off x="3472709" y="1262786"/>
            <a:ext cx="2378722" cy="369332"/>
            <a:chOff x="4998922" y="3742239"/>
            <a:chExt cx="2378722" cy="369332"/>
          </a:xfrm>
        </p:grpSpPr>
        <p:sp>
          <p:nvSpPr>
            <p:cNvPr id="20" name="Rectangle 19">
              <a:extLst>
                <a:ext uri="{FF2B5EF4-FFF2-40B4-BE49-F238E27FC236}">
                  <a16:creationId xmlns:a16="http://schemas.microsoft.com/office/drawing/2014/main" id="{731A1E16-0813-234F-97FE-74502C0DF96F}"/>
                </a:ext>
              </a:extLst>
            </p:cNvPr>
            <p:cNvSpPr/>
            <p:nvPr/>
          </p:nvSpPr>
          <p:spPr>
            <a:xfrm>
              <a:off x="5086632" y="3742239"/>
              <a:ext cx="2291012"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rive by Downloads</a:t>
              </a:r>
            </a:p>
          </p:txBody>
        </p:sp>
        <p:sp>
          <p:nvSpPr>
            <p:cNvPr id="57" name="Freeform 5">
              <a:extLst>
                <a:ext uri="{FF2B5EF4-FFF2-40B4-BE49-F238E27FC236}">
                  <a16:creationId xmlns:a16="http://schemas.microsoft.com/office/drawing/2014/main" id="{E16B52D6-E7AA-4A47-B061-589A44D85615}"/>
                </a:ext>
              </a:extLst>
            </p:cNvPr>
            <p:cNvSpPr>
              <a:spLocks/>
            </p:cNvSpPr>
            <p:nvPr/>
          </p:nvSpPr>
          <p:spPr bwMode="auto">
            <a:xfrm flipH="1">
              <a:off x="4998922" y="3849572"/>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27" name="Group 26">
            <a:extLst>
              <a:ext uri="{FF2B5EF4-FFF2-40B4-BE49-F238E27FC236}">
                <a16:creationId xmlns:a16="http://schemas.microsoft.com/office/drawing/2014/main" id="{63F69F1E-C939-A84E-91BA-4718CEC95D84}"/>
              </a:ext>
            </a:extLst>
          </p:cNvPr>
          <p:cNvGrpSpPr/>
          <p:nvPr/>
        </p:nvGrpSpPr>
        <p:grpSpPr>
          <a:xfrm>
            <a:off x="457416" y="1874296"/>
            <a:ext cx="2168782" cy="369332"/>
            <a:chOff x="2886041" y="3425372"/>
            <a:chExt cx="2168782" cy="369332"/>
          </a:xfrm>
        </p:grpSpPr>
        <p:sp>
          <p:nvSpPr>
            <p:cNvPr id="16" name="Rectangle 15">
              <a:extLst>
                <a:ext uri="{FF2B5EF4-FFF2-40B4-BE49-F238E27FC236}">
                  <a16:creationId xmlns:a16="http://schemas.microsoft.com/office/drawing/2014/main" id="{E39F83B4-0665-7A43-9E5F-84C2AE1FE7C7}"/>
                </a:ext>
              </a:extLst>
            </p:cNvPr>
            <p:cNvSpPr/>
            <p:nvPr/>
          </p:nvSpPr>
          <p:spPr>
            <a:xfrm>
              <a:off x="2953310" y="3425372"/>
              <a:ext cx="2101513" cy="369332"/>
            </a:xfrm>
            <a:prstGeom prst="rect">
              <a:avLst/>
            </a:prstGeom>
          </p:spPr>
          <p:txBody>
            <a:bodyPr wrap="squar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ata Manipulation</a:t>
              </a:r>
            </a:p>
          </p:txBody>
        </p:sp>
        <p:sp>
          <p:nvSpPr>
            <p:cNvPr id="58" name="Freeform 5">
              <a:extLst>
                <a:ext uri="{FF2B5EF4-FFF2-40B4-BE49-F238E27FC236}">
                  <a16:creationId xmlns:a16="http://schemas.microsoft.com/office/drawing/2014/main" id="{064D8357-471A-144F-B186-3DC2F96AB88E}"/>
                </a:ext>
              </a:extLst>
            </p:cNvPr>
            <p:cNvSpPr>
              <a:spLocks/>
            </p:cNvSpPr>
            <p:nvPr/>
          </p:nvSpPr>
          <p:spPr bwMode="auto">
            <a:xfrm flipH="1">
              <a:off x="2886041" y="3534297"/>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28" name="Group 27">
            <a:extLst>
              <a:ext uri="{FF2B5EF4-FFF2-40B4-BE49-F238E27FC236}">
                <a16:creationId xmlns:a16="http://schemas.microsoft.com/office/drawing/2014/main" id="{A66AE74A-CB7E-1D43-BF77-73236882488B}"/>
              </a:ext>
            </a:extLst>
          </p:cNvPr>
          <p:cNvGrpSpPr/>
          <p:nvPr/>
        </p:nvGrpSpPr>
        <p:grpSpPr>
          <a:xfrm>
            <a:off x="1694084" y="3264825"/>
            <a:ext cx="1743486" cy="369332"/>
            <a:chOff x="2752228" y="2928805"/>
            <a:chExt cx="1743486" cy="369332"/>
          </a:xfrm>
        </p:grpSpPr>
        <p:sp>
          <p:nvSpPr>
            <p:cNvPr id="13" name="Rectangle 12">
              <a:extLst>
                <a:ext uri="{FF2B5EF4-FFF2-40B4-BE49-F238E27FC236}">
                  <a16:creationId xmlns:a16="http://schemas.microsoft.com/office/drawing/2014/main" id="{88D766F1-5898-F447-8681-FB73ED762906}"/>
                </a:ext>
              </a:extLst>
            </p:cNvPr>
            <p:cNvSpPr/>
            <p:nvPr/>
          </p:nvSpPr>
          <p:spPr>
            <a:xfrm>
              <a:off x="2834682" y="2928805"/>
              <a:ext cx="1661032"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Wiper Attacks</a:t>
              </a:r>
            </a:p>
          </p:txBody>
        </p:sp>
        <p:sp>
          <p:nvSpPr>
            <p:cNvPr id="59" name="Freeform 5">
              <a:extLst>
                <a:ext uri="{FF2B5EF4-FFF2-40B4-BE49-F238E27FC236}">
                  <a16:creationId xmlns:a16="http://schemas.microsoft.com/office/drawing/2014/main" id="{3781CE53-D2B1-954D-B21F-65548F9A5C5B}"/>
                </a:ext>
              </a:extLst>
            </p:cNvPr>
            <p:cNvSpPr>
              <a:spLocks/>
            </p:cNvSpPr>
            <p:nvPr/>
          </p:nvSpPr>
          <p:spPr bwMode="auto">
            <a:xfrm flipH="1">
              <a:off x="2752228" y="3034697"/>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29" name="Group 28">
            <a:extLst>
              <a:ext uri="{FF2B5EF4-FFF2-40B4-BE49-F238E27FC236}">
                <a16:creationId xmlns:a16="http://schemas.microsoft.com/office/drawing/2014/main" id="{937C811F-1E83-7844-812B-18B90FA4EDE8}"/>
              </a:ext>
            </a:extLst>
          </p:cNvPr>
          <p:cNvGrpSpPr/>
          <p:nvPr/>
        </p:nvGrpSpPr>
        <p:grpSpPr>
          <a:xfrm>
            <a:off x="1994584" y="4002142"/>
            <a:ext cx="1068044" cy="369332"/>
            <a:chOff x="1758378" y="2628101"/>
            <a:chExt cx="1068044" cy="369332"/>
          </a:xfrm>
        </p:grpSpPr>
        <p:sp>
          <p:nvSpPr>
            <p:cNvPr id="12" name="Rectangle 11">
              <a:extLst>
                <a:ext uri="{FF2B5EF4-FFF2-40B4-BE49-F238E27FC236}">
                  <a16:creationId xmlns:a16="http://schemas.microsoft.com/office/drawing/2014/main" id="{91011C4B-B021-5445-97D9-3D61A9D04BA8}"/>
                </a:ext>
              </a:extLst>
            </p:cNvPr>
            <p:cNvSpPr/>
            <p:nvPr/>
          </p:nvSpPr>
          <p:spPr>
            <a:xfrm>
              <a:off x="1833843" y="2628101"/>
              <a:ext cx="992579"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Botnets</a:t>
              </a:r>
            </a:p>
          </p:txBody>
        </p:sp>
        <p:sp>
          <p:nvSpPr>
            <p:cNvPr id="64" name="Freeform 5">
              <a:extLst>
                <a:ext uri="{FF2B5EF4-FFF2-40B4-BE49-F238E27FC236}">
                  <a16:creationId xmlns:a16="http://schemas.microsoft.com/office/drawing/2014/main" id="{60D39BAB-D80E-8249-9410-104D3499612D}"/>
                </a:ext>
              </a:extLst>
            </p:cNvPr>
            <p:cNvSpPr>
              <a:spLocks/>
            </p:cNvSpPr>
            <p:nvPr/>
          </p:nvSpPr>
          <p:spPr bwMode="auto">
            <a:xfrm flipH="1">
              <a:off x="1758378" y="2738541"/>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0" name="Group 29">
            <a:extLst>
              <a:ext uri="{FF2B5EF4-FFF2-40B4-BE49-F238E27FC236}">
                <a16:creationId xmlns:a16="http://schemas.microsoft.com/office/drawing/2014/main" id="{0E57069E-5C0B-FC48-BB5F-A84C51A856F8}"/>
              </a:ext>
            </a:extLst>
          </p:cNvPr>
          <p:cNvGrpSpPr/>
          <p:nvPr/>
        </p:nvGrpSpPr>
        <p:grpSpPr>
          <a:xfrm>
            <a:off x="743447" y="673482"/>
            <a:ext cx="1634110" cy="369332"/>
            <a:chOff x="528442" y="1117114"/>
            <a:chExt cx="1634110" cy="369332"/>
          </a:xfrm>
        </p:grpSpPr>
        <p:sp>
          <p:nvSpPr>
            <p:cNvPr id="9" name="Rectangle 8">
              <a:extLst>
                <a:ext uri="{FF2B5EF4-FFF2-40B4-BE49-F238E27FC236}">
                  <a16:creationId xmlns:a16="http://schemas.microsoft.com/office/drawing/2014/main" id="{9A95E18A-8F10-AD40-AB00-1E16047ACB54}"/>
                </a:ext>
              </a:extLst>
            </p:cNvPr>
            <p:cNvSpPr/>
            <p:nvPr/>
          </p:nvSpPr>
          <p:spPr>
            <a:xfrm>
              <a:off x="604112" y="1117114"/>
              <a:ext cx="1558440"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Ransomware</a:t>
              </a:r>
            </a:p>
          </p:txBody>
        </p:sp>
        <p:sp>
          <p:nvSpPr>
            <p:cNvPr id="66" name="Freeform 5">
              <a:extLst>
                <a:ext uri="{FF2B5EF4-FFF2-40B4-BE49-F238E27FC236}">
                  <a16:creationId xmlns:a16="http://schemas.microsoft.com/office/drawing/2014/main" id="{AA80C8CC-F8EA-204F-9449-2B0FA7B1B6BA}"/>
                </a:ext>
              </a:extLst>
            </p:cNvPr>
            <p:cNvSpPr>
              <a:spLocks/>
            </p:cNvSpPr>
            <p:nvPr/>
          </p:nvSpPr>
          <p:spPr bwMode="auto">
            <a:xfrm flipH="1">
              <a:off x="528442" y="1221100"/>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1" name="Group 30">
            <a:extLst>
              <a:ext uri="{FF2B5EF4-FFF2-40B4-BE49-F238E27FC236}">
                <a16:creationId xmlns:a16="http://schemas.microsoft.com/office/drawing/2014/main" id="{D3CD25FE-87F7-2A4A-ADFC-2D2663A501C1}"/>
              </a:ext>
            </a:extLst>
          </p:cNvPr>
          <p:cNvGrpSpPr/>
          <p:nvPr/>
        </p:nvGrpSpPr>
        <p:grpSpPr>
          <a:xfrm>
            <a:off x="5384613" y="542202"/>
            <a:ext cx="3299300" cy="369332"/>
            <a:chOff x="3679328" y="1092600"/>
            <a:chExt cx="3299300" cy="369332"/>
          </a:xfrm>
        </p:grpSpPr>
        <p:sp>
          <p:nvSpPr>
            <p:cNvPr id="8" name="Rectangle 7">
              <a:extLst>
                <a:ext uri="{FF2B5EF4-FFF2-40B4-BE49-F238E27FC236}">
                  <a16:creationId xmlns:a16="http://schemas.microsoft.com/office/drawing/2014/main" id="{E70BC26C-27DC-2245-AD85-C254067B3625}"/>
                </a:ext>
              </a:extLst>
            </p:cNvPr>
            <p:cNvSpPr/>
            <p:nvPr/>
          </p:nvSpPr>
          <p:spPr>
            <a:xfrm>
              <a:off x="3749859" y="1092600"/>
              <a:ext cx="3228769"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Advanced Persistent Threats</a:t>
              </a: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68" name="Freeform 5">
              <a:extLst>
                <a:ext uri="{FF2B5EF4-FFF2-40B4-BE49-F238E27FC236}">
                  <a16:creationId xmlns:a16="http://schemas.microsoft.com/office/drawing/2014/main" id="{07F74B3E-C811-6047-98F4-761F11C757A8}"/>
                </a:ext>
              </a:extLst>
            </p:cNvPr>
            <p:cNvSpPr>
              <a:spLocks/>
            </p:cNvSpPr>
            <p:nvPr/>
          </p:nvSpPr>
          <p:spPr bwMode="auto">
            <a:xfrm flipH="1">
              <a:off x="3679328" y="1196586"/>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2" name="Group 31">
            <a:extLst>
              <a:ext uri="{FF2B5EF4-FFF2-40B4-BE49-F238E27FC236}">
                <a16:creationId xmlns:a16="http://schemas.microsoft.com/office/drawing/2014/main" id="{67D103FF-5E4B-2446-A1AF-FBEE18F0AF54}"/>
              </a:ext>
            </a:extLst>
          </p:cNvPr>
          <p:cNvGrpSpPr/>
          <p:nvPr/>
        </p:nvGrpSpPr>
        <p:grpSpPr>
          <a:xfrm>
            <a:off x="6456040" y="3084507"/>
            <a:ext cx="2440870" cy="369332"/>
            <a:chOff x="4231061" y="1732351"/>
            <a:chExt cx="2440870" cy="369332"/>
          </a:xfrm>
        </p:grpSpPr>
        <p:sp>
          <p:nvSpPr>
            <p:cNvPr id="22" name="Rectangle 21">
              <a:extLst>
                <a:ext uri="{FF2B5EF4-FFF2-40B4-BE49-F238E27FC236}">
                  <a16:creationId xmlns:a16="http://schemas.microsoft.com/office/drawing/2014/main" id="{3A829D76-9AB2-7D4C-B005-61283E7C7A8B}"/>
                </a:ext>
              </a:extLst>
            </p:cNvPr>
            <p:cNvSpPr/>
            <p:nvPr/>
          </p:nvSpPr>
          <p:spPr>
            <a:xfrm>
              <a:off x="4315196" y="1732351"/>
              <a:ext cx="2356735"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Unpatched Software</a:t>
              </a:r>
            </a:p>
          </p:txBody>
        </p:sp>
        <p:sp>
          <p:nvSpPr>
            <p:cNvPr id="70" name="Freeform 5">
              <a:extLst>
                <a:ext uri="{FF2B5EF4-FFF2-40B4-BE49-F238E27FC236}">
                  <a16:creationId xmlns:a16="http://schemas.microsoft.com/office/drawing/2014/main" id="{831CA97C-0F70-264B-9D79-11695A50D577}"/>
                </a:ext>
              </a:extLst>
            </p:cNvPr>
            <p:cNvSpPr>
              <a:spLocks/>
            </p:cNvSpPr>
            <p:nvPr/>
          </p:nvSpPr>
          <p:spPr bwMode="auto">
            <a:xfrm flipH="1">
              <a:off x="4231061" y="1836337"/>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3" name="Group 32">
            <a:extLst>
              <a:ext uri="{FF2B5EF4-FFF2-40B4-BE49-F238E27FC236}">
                <a16:creationId xmlns:a16="http://schemas.microsoft.com/office/drawing/2014/main" id="{667D2C3F-DC7D-7F4E-9BB6-B68C3A0B1F5D}"/>
              </a:ext>
            </a:extLst>
          </p:cNvPr>
          <p:cNvGrpSpPr/>
          <p:nvPr/>
        </p:nvGrpSpPr>
        <p:grpSpPr>
          <a:xfrm>
            <a:off x="3551901" y="1919933"/>
            <a:ext cx="2156867" cy="369332"/>
            <a:chOff x="3954281" y="2467087"/>
            <a:chExt cx="2156867" cy="369332"/>
          </a:xfrm>
        </p:grpSpPr>
        <p:sp>
          <p:nvSpPr>
            <p:cNvPr id="17" name="Rectangle 16">
              <a:extLst>
                <a:ext uri="{FF2B5EF4-FFF2-40B4-BE49-F238E27FC236}">
                  <a16:creationId xmlns:a16="http://schemas.microsoft.com/office/drawing/2014/main" id="{FF051982-648F-DB44-9B7D-E40F82F509D3}"/>
                </a:ext>
              </a:extLst>
            </p:cNvPr>
            <p:cNvSpPr/>
            <p:nvPr/>
          </p:nvSpPr>
          <p:spPr>
            <a:xfrm>
              <a:off x="4020511" y="2467087"/>
              <a:ext cx="2090637"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Spyware/Malware</a:t>
              </a:r>
            </a:p>
          </p:txBody>
        </p:sp>
        <p:sp>
          <p:nvSpPr>
            <p:cNvPr id="72" name="Freeform 5">
              <a:extLst>
                <a:ext uri="{FF2B5EF4-FFF2-40B4-BE49-F238E27FC236}">
                  <a16:creationId xmlns:a16="http://schemas.microsoft.com/office/drawing/2014/main" id="{6162346E-B960-094F-9154-7EBABD98E0B8}"/>
                </a:ext>
              </a:extLst>
            </p:cNvPr>
            <p:cNvSpPr>
              <a:spLocks/>
            </p:cNvSpPr>
            <p:nvPr/>
          </p:nvSpPr>
          <p:spPr bwMode="auto">
            <a:xfrm flipH="1">
              <a:off x="3954281" y="2571073"/>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4" name="Group 33">
            <a:extLst>
              <a:ext uri="{FF2B5EF4-FFF2-40B4-BE49-F238E27FC236}">
                <a16:creationId xmlns:a16="http://schemas.microsoft.com/office/drawing/2014/main" id="{96489E39-D8DD-B541-8C1A-05CBB3B4D1D2}"/>
              </a:ext>
            </a:extLst>
          </p:cNvPr>
          <p:cNvGrpSpPr/>
          <p:nvPr/>
        </p:nvGrpSpPr>
        <p:grpSpPr>
          <a:xfrm>
            <a:off x="6667277" y="2360827"/>
            <a:ext cx="1638903" cy="369332"/>
            <a:chOff x="6177786" y="2074763"/>
            <a:chExt cx="1638903" cy="369332"/>
          </a:xfrm>
        </p:grpSpPr>
        <p:sp>
          <p:nvSpPr>
            <p:cNvPr id="14" name="Rectangle 13">
              <a:extLst>
                <a:ext uri="{FF2B5EF4-FFF2-40B4-BE49-F238E27FC236}">
                  <a16:creationId xmlns:a16="http://schemas.microsoft.com/office/drawing/2014/main" id="{AE68CD10-55B4-7F41-8309-9B9EF3FA3100}"/>
                </a:ext>
              </a:extLst>
            </p:cNvPr>
            <p:cNvSpPr/>
            <p:nvPr/>
          </p:nvSpPr>
          <p:spPr>
            <a:xfrm>
              <a:off x="6251837" y="2074763"/>
              <a:ext cx="1564852"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Data/IP Theft</a:t>
              </a:r>
            </a:p>
          </p:txBody>
        </p:sp>
        <p:sp>
          <p:nvSpPr>
            <p:cNvPr id="74" name="Freeform 5">
              <a:extLst>
                <a:ext uri="{FF2B5EF4-FFF2-40B4-BE49-F238E27FC236}">
                  <a16:creationId xmlns:a16="http://schemas.microsoft.com/office/drawing/2014/main" id="{C0320707-1D0F-1F4B-867B-FC4E54E347A1}"/>
                </a:ext>
              </a:extLst>
            </p:cNvPr>
            <p:cNvSpPr>
              <a:spLocks/>
            </p:cNvSpPr>
            <p:nvPr/>
          </p:nvSpPr>
          <p:spPr bwMode="auto">
            <a:xfrm flipH="1">
              <a:off x="6177786" y="2178749"/>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grpSp>
        <p:nvGrpSpPr>
          <p:cNvPr id="35" name="Group 34">
            <a:extLst>
              <a:ext uri="{FF2B5EF4-FFF2-40B4-BE49-F238E27FC236}">
                <a16:creationId xmlns:a16="http://schemas.microsoft.com/office/drawing/2014/main" id="{F5C83DE6-B1CA-9D44-AA95-79C05B487970}"/>
              </a:ext>
            </a:extLst>
          </p:cNvPr>
          <p:cNvGrpSpPr/>
          <p:nvPr/>
        </p:nvGrpSpPr>
        <p:grpSpPr>
          <a:xfrm>
            <a:off x="1283682" y="1239835"/>
            <a:ext cx="1521920" cy="369332"/>
            <a:chOff x="6010603" y="2879893"/>
            <a:chExt cx="1521920" cy="369332"/>
          </a:xfrm>
        </p:grpSpPr>
        <p:sp>
          <p:nvSpPr>
            <p:cNvPr id="21" name="Rectangle 20">
              <a:extLst>
                <a:ext uri="{FF2B5EF4-FFF2-40B4-BE49-F238E27FC236}">
                  <a16:creationId xmlns:a16="http://schemas.microsoft.com/office/drawing/2014/main" id="{1DF20529-16B6-4E45-90E0-2394D874469F}"/>
                </a:ext>
              </a:extLst>
            </p:cNvPr>
            <p:cNvSpPr/>
            <p:nvPr/>
          </p:nvSpPr>
          <p:spPr>
            <a:xfrm>
              <a:off x="6087897" y="2879893"/>
              <a:ext cx="1444626" cy="369332"/>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ts val="4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cs typeface="CiscoSansTT Light" panose="020B0503020201020303" pitchFamily="34" charset="0"/>
                </a:rPr>
                <a:t>Malvertising</a:t>
              </a:r>
            </a:p>
          </p:txBody>
        </p:sp>
        <p:sp>
          <p:nvSpPr>
            <p:cNvPr id="76" name="Freeform 5">
              <a:extLst>
                <a:ext uri="{FF2B5EF4-FFF2-40B4-BE49-F238E27FC236}">
                  <a16:creationId xmlns:a16="http://schemas.microsoft.com/office/drawing/2014/main" id="{8AD7B95B-C65A-0148-88F2-2CD123B0FF98}"/>
                </a:ext>
              </a:extLst>
            </p:cNvPr>
            <p:cNvSpPr>
              <a:spLocks/>
            </p:cNvSpPr>
            <p:nvPr/>
          </p:nvSpPr>
          <p:spPr bwMode="auto">
            <a:xfrm flipH="1">
              <a:off x="6010603" y="2983879"/>
              <a:ext cx="133813" cy="161361"/>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chemeClr val="accent6"/>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62626"/>
                </a:solidFill>
                <a:effectLst/>
                <a:uLnTx/>
                <a:uFillTx/>
                <a:latin typeface="Arial" charset="0"/>
                <a:ea typeface="ＭＳ Ｐゴシック" charset="0"/>
              </a:endParaRPr>
            </a:p>
          </p:txBody>
        </p:sp>
      </p:grpSp>
      <p:pic>
        <p:nvPicPr>
          <p:cNvPr id="65" name="Picture 64">
            <a:extLst>
              <a:ext uri="{FF2B5EF4-FFF2-40B4-BE49-F238E27FC236}">
                <a16:creationId xmlns:a16="http://schemas.microsoft.com/office/drawing/2014/main" id="{192ED2F6-086A-48D9-9EDB-2CEFC0BE7A4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271576" y="4546624"/>
            <a:ext cx="713887" cy="496216"/>
          </a:xfrm>
          <a:prstGeom prst="rect">
            <a:avLst/>
          </a:prstGeom>
        </p:spPr>
      </p:pic>
    </p:spTree>
    <p:extLst>
      <p:ext uri="{BB962C8B-B14F-4D97-AF65-F5344CB8AC3E}">
        <p14:creationId xmlns:p14="http://schemas.microsoft.com/office/powerpoint/2010/main" val="70715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Deleting backup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1865650" y="1112520"/>
            <a:ext cx="5782524" cy="3119120"/>
          </a:xfrm>
          <a:prstGeom prst="rect">
            <a:avLst/>
          </a:prstGeom>
        </p:spPr>
      </p:pic>
    </p:spTree>
    <p:extLst>
      <p:ext uri="{BB962C8B-B14F-4D97-AF65-F5344CB8AC3E}">
        <p14:creationId xmlns:p14="http://schemas.microsoft.com/office/powerpoint/2010/main" val="17235159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Disabling Windows recovery tool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237793" y="1995891"/>
            <a:ext cx="4248295" cy="1581020"/>
          </a:xfrm>
          <a:prstGeom prst="rect">
            <a:avLst/>
          </a:prstGeom>
        </p:spPr>
      </p:pic>
      <p:pic>
        <p:nvPicPr>
          <p:cNvPr id="4" name="Picture 3">
            <a:extLst>
              <a:ext uri="{FF2B5EF4-FFF2-40B4-BE49-F238E27FC236}">
                <a16:creationId xmlns:a16="http://schemas.microsoft.com/office/drawing/2014/main" id="{EAB0D81E-B05E-CA41-8921-9DDDB9DF11E7}"/>
              </a:ext>
            </a:extLst>
          </p:cNvPr>
          <p:cNvPicPr>
            <a:picLocks noChangeAspect="1"/>
          </p:cNvPicPr>
          <p:nvPr/>
        </p:nvPicPr>
        <p:blipFill>
          <a:blip r:embed="rId4"/>
          <a:srcRect/>
          <a:stretch/>
        </p:blipFill>
        <p:spPr>
          <a:xfrm>
            <a:off x="4657914" y="1839649"/>
            <a:ext cx="4248296" cy="1893504"/>
          </a:xfrm>
          <a:prstGeom prst="rect">
            <a:avLst/>
          </a:prstGeom>
        </p:spPr>
      </p:pic>
    </p:spTree>
    <p:extLst>
      <p:ext uri="{BB962C8B-B14F-4D97-AF65-F5344CB8AC3E}">
        <p14:creationId xmlns:p14="http://schemas.microsoft.com/office/powerpoint/2010/main" val="36135983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Changing firewall rule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613725" y="1189463"/>
            <a:ext cx="7916550" cy="2965234"/>
          </a:xfrm>
          <a:prstGeom prst="rect">
            <a:avLst/>
          </a:prstGeom>
        </p:spPr>
      </p:pic>
    </p:spTree>
    <p:extLst>
      <p:ext uri="{BB962C8B-B14F-4D97-AF65-F5344CB8AC3E}">
        <p14:creationId xmlns:p14="http://schemas.microsoft.com/office/powerpoint/2010/main" val="2926009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Contacting the C2 server</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240334" y="1640139"/>
            <a:ext cx="4243212" cy="2292524"/>
          </a:xfrm>
          <a:prstGeom prst="rect">
            <a:avLst/>
          </a:prstGeom>
        </p:spPr>
      </p:pic>
      <p:pic>
        <p:nvPicPr>
          <p:cNvPr id="4" name="Picture 3">
            <a:extLst>
              <a:ext uri="{FF2B5EF4-FFF2-40B4-BE49-F238E27FC236}">
                <a16:creationId xmlns:a16="http://schemas.microsoft.com/office/drawing/2014/main" id="{EAB0D81E-B05E-CA41-8921-9DDDB9DF11E7}"/>
              </a:ext>
            </a:extLst>
          </p:cNvPr>
          <p:cNvPicPr>
            <a:picLocks noChangeAspect="1"/>
          </p:cNvPicPr>
          <p:nvPr/>
        </p:nvPicPr>
        <p:blipFill>
          <a:blip r:embed="rId4"/>
          <a:srcRect/>
          <a:stretch/>
        </p:blipFill>
        <p:spPr>
          <a:xfrm>
            <a:off x="4657914" y="2289089"/>
            <a:ext cx="4248296" cy="994624"/>
          </a:xfrm>
          <a:prstGeom prst="rect">
            <a:avLst/>
          </a:prstGeom>
        </p:spPr>
      </p:pic>
    </p:spTree>
    <p:extLst>
      <p:ext uri="{BB962C8B-B14F-4D97-AF65-F5344CB8AC3E}">
        <p14:creationId xmlns:p14="http://schemas.microsoft.com/office/powerpoint/2010/main" val="4195439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Encrypting file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613725" y="1767430"/>
            <a:ext cx="7916550" cy="1809299"/>
          </a:xfrm>
          <a:prstGeom prst="rect">
            <a:avLst/>
          </a:prstGeom>
        </p:spPr>
      </p:pic>
    </p:spTree>
    <p:extLst>
      <p:ext uri="{BB962C8B-B14F-4D97-AF65-F5344CB8AC3E}">
        <p14:creationId xmlns:p14="http://schemas.microsoft.com/office/powerpoint/2010/main" val="28772905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Creating ransom notes</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205766" y="1345581"/>
            <a:ext cx="8732468" cy="2652998"/>
          </a:xfrm>
          <a:prstGeom prst="rect">
            <a:avLst/>
          </a:prstGeom>
        </p:spPr>
      </p:pic>
    </p:spTree>
    <p:extLst>
      <p:ext uri="{BB962C8B-B14F-4D97-AF65-F5344CB8AC3E}">
        <p14:creationId xmlns:p14="http://schemas.microsoft.com/office/powerpoint/2010/main" val="31593833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Changing desktop wallpaper</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349573" y="1182029"/>
            <a:ext cx="8444854" cy="2980102"/>
          </a:xfrm>
          <a:prstGeom prst="rect">
            <a:avLst/>
          </a:prstGeom>
        </p:spPr>
      </p:pic>
    </p:spTree>
    <p:extLst>
      <p:ext uri="{BB962C8B-B14F-4D97-AF65-F5344CB8AC3E}">
        <p14:creationId xmlns:p14="http://schemas.microsoft.com/office/powerpoint/2010/main" val="40520880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1531434" y="122044"/>
            <a:ext cx="6081132" cy="4564812"/>
          </a:xfrm>
          <a:prstGeom prst="rect">
            <a:avLst/>
          </a:prstGeom>
        </p:spPr>
      </p:pic>
    </p:spTree>
    <p:extLst>
      <p:ext uri="{BB962C8B-B14F-4D97-AF65-F5344CB8AC3E}">
        <p14:creationId xmlns:p14="http://schemas.microsoft.com/office/powerpoint/2010/main" val="23109626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1531434" y="122044"/>
            <a:ext cx="6081132" cy="4564811"/>
          </a:xfrm>
          <a:prstGeom prst="rect">
            <a:avLst/>
          </a:prstGeom>
        </p:spPr>
      </p:pic>
    </p:spTree>
    <p:extLst>
      <p:ext uri="{BB962C8B-B14F-4D97-AF65-F5344CB8AC3E}">
        <p14:creationId xmlns:p14="http://schemas.microsoft.com/office/powerpoint/2010/main" val="8485555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AAA0-D2FD-7C45-9BBF-F59D0DFF439A}"/>
              </a:ext>
            </a:extLst>
          </p:cNvPr>
          <p:cNvSpPr>
            <a:spLocks noGrp="1"/>
          </p:cNvSpPr>
          <p:nvPr>
            <p:ph type="title"/>
          </p:nvPr>
        </p:nvSpPr>
        <p:spPr/>
        <p:txBody>
          <a:bodyPr/>
          <a:lstStyle/>
          <a:p>
            <a:r>
              <a:rPr lang="en-US" dirty="0"/>
              <a:t>Defense in the real world</a:t>
            </a:r>
          </a:p>
        </p:txBody>
      </p:sp>
      <p:pic>
        <p:nvPicPr>
          <p:cNvPr id="10" name="Picture 9">
            <a:extLst>
              <a:ext uri="{FF2B5EF4-FFF2-40B4-BE49-F238E27FC236}">
                <a16:creationId xmlns:a16="http://schemas.microsoft.com/office/drawing/2014/main" id="{DDF59F65-5A7D-FA44-8BF0-822319C0F06B}"/>
              </a:ext>
            </a:extLst>
          </p:cNvPr>
          <p:cNvPicPr>
            <a:picLocks noChangeAspect="1"/>
          </p:cNvPicPr>
          <p:nvPr/>
        </p:nvPicPr>
        <p:blipFill>
          <a:blip r:embed="rId3"/>
          <a:srcRect/>
          <a:stretch/>
        </p:blipFill>
        <p:spPr>
          <a:xfrm>
            <a:off x="110417" y="1769327"/>
            <a:ext cx="4503046" cy="2034148"/>
          </a:xfrm>
          <a:prstGeom prst="rect">
            <a:avLst/>
          </a:prstGeom>
        </p:spPr>
      </p:pic>
      <p:pic>
        <p:nvPicPr>
          <p:cNvPr id="4" name="Picture 3">
            <a:extLst>
              <a:ext uri="{FF2B5EF4-FFF2-40B4-BE49-F238E27FC236}">
                <a16:creationId xmlns:a16="http://schemas.microsoft.com/office/drawing/2014/main" id="{EAB0D81E-B05E-CA41-8921-9DDDB9DF11E7}"/>
              </a:ext>
            </a:extLst>
          </p:cNvPr>
          <p:cNvPicPr>
            <a:picLocks noChangeAspect="1"/>
          </p:cNvPicPr>
          <p:nvPr/>
        </p:nvPicPr>
        <p:blipFill>
          <a:blip r:embed="rId4"/>
          <a:srcRect/>
          <a:stretch/>
        </p:blipFill>
        <p:spPr>
          <a:xfrm>
            <a:off x="4707690" y="2193073"/>
            <a:ext cx="4325893" cy="1149485"/>
          </a:xfrm>
          <a:prstGeom prst="rect">
            <a:avLst/>
          </a:prstGeom>
        </p:spPr>
      </p:pic>
    </p:spTree>
    <p:extLst>
      <p:ext uri="{BB962C8B-B14F-4D97-AF65-F5344CB8AC3E}">
        <p14:creationId xmlns:p14="http://schemas.microsoft.com/office/powerpoint/2010/main" val="408572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Placeholder 66">
            <a:extLst>
              <a:ext uri="{FF2B5EF4-FFF2-40B4-BE49-F238E27FC236}">
                <a16:creationId xmlns:a16="http://schemas.microsoft.com/office/drawing/2014/main" id="{B2C44583-40B1-4EF0-8409-567643DC7DB4}"/>
              </a:ext>
            </a:extLst>
          </p:cNvPr>
          <p:cNvPicPr>
            <a:picLocks noGrp="1" noChangeAspect="1"/>
          </p:cNvPicPr>
          <p:nvPr>
            <p:ph type="pic" sz="quarter" idx="10"/>
          </p:nvPr>
        </p:nvPicPr>
        <p:blipFill rotWithShape="1">
          <a:blip r:embed="rId9" cstate="print">
            <a:extLst>
              <a:ext uri="{28A0092B-C50C-407E-A947-70E740481C1C}">
                <a14:useLocalDpi xmlns:a14="http://schemas.microsoft.com/office/drawing/2010/main"/>
              </a:ext>
            </a:extLst>
          </a:blip>
          <a:srcRect t="38" b="38"/>
          <a:stretch/>
        </p:blipFill>
        <p:spPr>
          <a:xfrm>
            <a:off x="0" y="0"/>
            <a:ext cx="9147175" cy="5143500"/>
          </a:xfrm>
          <a:prstGeom prst="rect">
            <a:avLst/>
          </a:prstGeom>
        </p:spPr>
      </p:pic>
      <p:sp>
        <p:nvSpPr>
          <p:cNvPr id="24" name="Rectangle 23"/>
          <p:cNvSpPr/>
          <p:nvPr/>
        </p:nvSpPr>
        <p:spPr>
          <a:xfrm>
            <a:off x="0" y="0"/>
            <a:ext cx="9144000" cy="5143500"/>
          </a:xfrm>
          <a:prstGeom prst="rect">
            <a:avLst/>
          </a:prstGeom>
          <a:solidFill>
            <a:schemeClr val="tx2">
              <a:lumMod val="50000"/>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pic>
        <p:nvPicPr>
          <p:cNvPr id="65" name="Picture 64">
            <a:extLst>
              <a:ext uri="{FF2B5EF4-FFF2-40B4-BE49-F238E27FC236}">
                <a16:creationId xmlns:a16="http://schemas.microsoft.com/office/drawing/2014/main" id="{192ED2F6-086A-48D9-9EDB-2CEFC0BE7A48}"/>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8271576" y="4546624"/>
            <a:ext cx="713887" cy="496216"/>
          </a:xfrm>
          <a:prstGeom prst="rect">
            <a:avLst/>
          </a:prstGeom>
        </p:spPr>
      </p:pic>
      <p:sp>
        <p:nvSpPr>
          <p:cNvPr id="60" name="Oval 59">
            <a:extLst>
              <a:ext uri="{FF2B5EF4-FFF2-40B4-BE49-F238E27FC236}">
                <a16:creationId xmlns:a16="http://schemas.microsoft.com/office/drawing/2014/main" id="{1E856861-0CB6-A940-8CE8-46C6F8C56722}"/>
              </a:ext>
            </a:extLst>
          </p:cNvPr>
          <p:cNvSpPr/>
          <p:nvPr/>
        </p:nvSpPr>
        <p:spPr>
          <a:xfrm>
            <a:off x="6455230" y="-84365"/>
            <a:ext cx="5312229" cy="5312229"/>
          </a:xfrm>
          <a:prstGeom prst="ellipse">
            <a:avLst/>
          </a:prstGeom>
          <a:gradFill>
            <a:gsLst>
              <a:gs pos="78000">
                <a:srgbClr val="000000">
                  <a:alpha val="42000"/>
                </a:srgbClr>
              </a:gs>
              <a:gs pos="0">
                <a:srgbClr val="000000"/>
              </a:gs>
              <a:gs pos="100000">
                <a:srgbClr val="000000">
                  <a:alpha val="0"/>
                </a:srgbClr>
              </a:gs>
            </a:gsLst>
            <a:path path="shap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61" name="Oval 60">
            <a:extLst>
              <a:ext uri="{FF2B5EF4-FFF2-40B4-BE49-F238E27FC236}">
                <a16:creationId xmlns:a16="http://schemas.microsoft.com/office/drawing/2014/main" id="{1A6C0799-9147-754F-9826-CC979DB99BC8}"/>
              </a:ext>
            </a:extLst>
          </p:cNvPr>
          <p:cNvSpPr/>
          <p:nvPr>
            <p:custDataLst>
              <p:tags r:id="rId1"/>
            </p:custDataLst>
          </p:nvPr>
        </p:nvSpPr>
        <p:spPr>
          <a:xfrm>
            <a:off x="4579485" y="-1978479"/>
            <a:ext cx="9100457" cy="9100457"/>
          </a:xfrm>
          <a:prstGeom prst="ellipse">
            <a:avLst/>
          </a:prstGeom>
          <a:gradFill flip="none" rotWithShape="1">
            <a:gsLst>
              <a:gs pos="12393">
                <a:srgbClr val="049FD9">
                  <a:alpha val="0"/>
                </a:srgbClr>
              </a:gs>
              <a:gs pos="0">
                <a:schemeClr val="accent1">
                  <a:alpha val="8000"/>
                </a:schemeClr>
              </a:gs>
              <a:gs pos="27000">
                <a:schemeClr val="accent1">
                  <a:alpha val="0"/>
                </a:schemeClr>
              </a:gs>
              <a:gs pos="100000">
                <a:srgbClr val="369ED9">
                  <a:alpha val="0"/>
                </a:srgbClr>
              </a:gs>
            </a:gsLst>
            <a:lin ang="0" scaled="1"/>
            <a:tileRect/>
          </a:gradFill>
          <a:ln>
            <a:gradFill flip="none" rotWithShape="1">
              <a:gsLst>
                <a:gs pos="0">
                  <a:schemeClr val="accent1"/>
                </a:gs>
                <a:gs pos="4000">
                  <a:schemeClr val="accent1">
                    <a:alpha val="0"/>
                  </a:schemeClr>
                </a:gs>
                <a:gs pos="23000">
                  <a:schemeClr val="accent1">
                    <a:alpha val="0"/>
                  </a:schemeClr>
                </a:gs>
                <a:gs pos="100000">
                  <a:schemeClr val="accent1">
                    <a:alpha val="0"/>
                  </a:schemeClr>
                </a:gs>
              </a:gsLst>
              <a:lin ang="0" scaled="1"/>
              <a:tileRect/>
            </a:gradFill>
          </a:ln>
          <a:effectLst>
            <a:outerShdw blurRad="76200" dist="88900" dir="10800000" algn="r" rotWithShape="0">
              <a:prstClr val="black">
                <a:alpha val="6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useBgFill="1">
        <p:nvSpPr>
          <p:cNvPr id="62" name="Oval 61">
            <a:extLst>
              <a:ext uri="{FF2B5EF4-FFF2-40B4-BE49-F238E27FC236}">
                <a16:creationId xmlns:a16="http://schemas.microsoft.com/office/drawing/2014/main" id="{2F5B61FD-36AC-F94A-BAD3-1FAD66F72E0F}"/>
              </a:ext>
            </a:extLst>
          </p:cNvPr>
          <p:cNvSpPr/>
          <p:nvPr/>
        </p:nvSpPr>
        <p:spPr>
          <a:xfrm>
            <a:off x="4223658" y="2223408"/>
            <a:ext cx="696686" cy="69668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grpSp>
        <p:nvGrpSpPr>
          <p:cNvPr id="63" name="Group 62">
            <a:extLst>
              <a:ext uri="{FF2B5EF4-FFF2-40B4-BE49-F238E27FC236}">
                <a16:creationId xmlns:a16="http://schemas.microsoft.com/office/drawing/2014/main" id="{7F5678B0-90C9-A14D-9575-B76D03E56072}"/>
              </a:ext>
            </a:extLst>
          </p:cNvPr>
          <p:cNvGrpSpPr/>
          <p:nvPr>
            <p:custDataLst>
              <p:tags r:id="rId2"/>
            </p:custDataLst>
          </p:nvPr>
        </p:nvGrpSpPr>
        <p:grpSpPr>
          <a:xfrm>
            <a:off x="5876923" y="-695326"/>
            <a:ext cx="6534152" cy="6534152"/>
            <a:chOff x="9140370" y="377371"/>
            <a:chExt cx="6103258" cy="6103258"/>
          </a:xfrm>
        </p:grpSpPr>
        <p:pic>
          <p:nvPicPr>
            <p:cNvPr id="69" name="Picture 68">
              <a:extLst>
                <a:ext uri="{FF2B5EF4-FFF2-40B4-BE49-F238E27FC236}">
                  <a16:creationId xmlns:a16="http://schemas.microsoft.com/office/drawing/2014/main" id="{D50A4936-42C0-104B-A8A8-139902F913A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21868" r="21868"/>
            <a:stretch/>
          </p:blipFill>
          <p:spPr>
            <a:xfrm>
              <a:off x="9140370" y="377371"/>
              <a:ext cx="6103258" cy="6103258"/>
            </a:xfrm>
            <a:prstGeom prst="rect">
              <a:avLst/>
            </a:prstGeom>
          </p:spPr>
        </p:pic>
        <p:sp>
          <p:nvSpPr>
            <p:cNvPr id="71" name="Oval 70">
              <a:extLst>
                <a:ext uri="{FF2B5EF4-FFF2-40B4-BE49-F238E27FC236}">
                  <a16:creationId xmlns:a16="http://schemas.microsoft.com/office/drawing/2014/main" id="{B58291BD-2482-BE4C-B48D-986AA3D4FBA7}"/>
                </a:ext>
              </a:extLst>
            </p:cNvPr>
            <p:cNvSpPr/>
            <p:nvPr/>
          </p:nvSpPr>
          <p:spPr>
            <a:xfrm>
              <a:off x="10072914" y="1309914"/>
              <a:ext cx="4238172" cy="4238172"/>
            </a:xfrm>
            <a:prstGeom prst="ellipse">
              <a:avLst/>
            </a:prstGeom>
            <a:gradFill flip="none" rotWithShape="1">
              <a:gsLst>
                <a:gs pos="0">
                  <a:schemeClr val="accent3">
                    <a:alpha val="8000"/>
                  </a:schemeClr>
                </a:gs>
                <a:gs pos="19000">
                  <a:srgbClr val="369ED9">
                    <a:alpha val="0"/>
                  </a:srgbClr>
                </a:gs>
                <a:gs pos="100000">
                  <a:srgbClr val="369ED9">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73" name="Oval 72">
              <a:extLst>
                <a:ext uri="{FF2B5EF4-FFF2-40B4-BE49-F238E27FC236}">
                  <a16:creationId xmlns:a16="http://schemas.microsoft.com/office/drawing/2014/main" id="{7CA77BE1-499A-1344-BDFE-AA928C0BC17D}"/>
                </a:ext>
              </a:extLst>
            </p:cNvPr>
            <p:cNvSpPr/>
            <p:nvPr/>
          </p:nvSpPr>
          <p:spPr>
            <a:xfrm>
              <a:off x="10287000" y="1524000"/>
              <a:ext cx="3810000" cy="3810000"/>
            </a:xfrm>
            <a:prstGeom prst="ellipse">
              <a:avLst/>
            </a:prstGeom>
            <a:gradFill flip="none" rotWithShape="1">
              <a:gsLst>
                <a:gs pos="0">
                  <a:srgbClr val="369ED9">
                    <a:alpha val="20000"/>
                  </a:srgbClr>
                </a:gs>
                <a:gs pos="37000">
                  <a:srgbClr val="369ED9">
                    <a:alpha val="0"/>
                  </a:srgbClr>
                </a:gs>
                <a:gs pos="100000">
                  <a:srgbClr val="369ED9">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75" name="Freeform 9">
              <a:extLst>
                <a:ext uri="{FF2B5EF4-FFF2-40B4-BE49-F238E27FC236}">
                  <a16:creationId xmlns:a16="http://schemas.microsoft.com/office/drawing/2014/main" id="{B1863665-3651-6B43-B621-4889C5C46222}"/>
                </a:ext>
              </a:extLst>
            </p:cNvPr>
            <p:cNvSpPr>
              <a:spLocks noEditPoints="1"/>
            </p:cNvSpPr>
            <p:nvPr/>
          </p:nvSpPr>
          <p:spPr bwMode="auto">
            <a:xfrm>
              <a:off x="10993656" y="1944688"/>
              <a:ext cx="2396688" cy="756746"/>
            </a:xfrm>
            <a:custGeom>
              <a:avLst/>
              <a:gdLst>
                <a:gd name="T0" fmla="*/ 305 w 611"/>
                <a:gd name="T1" fmla="*/ 193 h 193"/>
                <a:gd name="T2" fmla="*/ 363 w 611"/>
                <a:gd name="T3" fmla="*/ 189 h 193"/>
                <a:gd name="T4" fmla="*/ 429 w 611"/>
                <a:gd name="T5" fmla="*/ 182 h 193"/>
                <a:gd name="T6" fmla="*/ 514 w 611"/>
                <a:gd name="T7" fmla="*/ 166 h 193"/>
                <a:gd name="T8" fmla="*/ 560 w 611"/>
                <a:gd name="T9" fmla="*/ 150 h 193"/>
                <a:gd name="T10" fmla="*/ 583 w 611"/>
                <a:gd name="T11" fmla="*/ 137 h 193"/>
                <a:gd name="T12" fmla="*/ 602 w 611"/>
                <a:gd name="T13" fmla="*/ 119 h 193"/>
                <a:gd name="T14" fmla="*/ 608 w 611"/>
                <a:gd name="T15" fmla="*/ 94 h 193"/>
                <a:gd name="T16" fmla="*/ 596 w 611"/>
                <a:gd name="T17" fmla="*/ 69 h 193"/>
                <a:gd name="T18" fmla="*/ 574 w 611"/>
                <a:gd name="T19" fmla="*/ 53 h 193"/>
                <a:gd name="T20" fmla="*/ 547 w 611"/>
                <a:gd name="T21" fmla="*/ 40 h 193"/>
                <a:gd name="T22" fmla="*/ 490 w 611"/>
                <a:gd name="T23" fmla="*/ 24 h 193"/>
                <a:gd name="T24" fmla="*/ 429 w 611"/>
                <a:gd name="T25" fmla="*/ 14 h 193"/>
                <a:gd name="T26" fmla="*/ 304 w 611"/>
                <a:gd name="T27" fmla="*/ 4 h 193"/>
                <a:gd name="T28" fmla="*/ 179 w 611"/>
                <a:gd name="T29" fmla="*/ 13 h 193"/>
                <a:gd name="T30" fmla="*/ 119 w 611"/>
                <a:gd name="T31" fmla="*/ 23 h 193"/>
                <a:gd name="T32" fmla="*/ 61 w 611"/>
                <a:gd name="T33" fmla="*/ 40 h 193"/>
                <a:gd name="T34" fmla="*/ 13 w 611"/>
                <a:gd name="T35" fmla="*/ 70 h 193"/>
                <a:gd name="T36" fmla="*/ 6 w 611"/>
                <a:gd name="T37" fmla="*/ 82 h 193"/>
                <a:gd name="T38" fmla="*/ 3 w 611"/>
                <a:gd name="T39" fmla="*/ 95 h 193"/>
                <a:gd name="T40" fmla="*/ 10 w 611"/>
                <a:gd name="T41" fmla="*/ 120 h 193"/>
                <a:gd name="T42" fmla="*/ 28 w 611"/>
                <a:gd name="T43" fmla="*/ 139 h 193"/>
                <a:gd name="T44" fmla="*/ 51 w 611"/>
                <a:gd name="T45" fmla="*/ 151 h 193"/>
                <a:gd name="T46" fmla="*/ 97 w 611"/>
                <a:gd name="T47" fmla="*/ 168 h 193"/>
                <a:gd name="T48" fmla="*/ 182 w 611"/>
                <a:gd name="T49" fmla="*/ 184 h 193"/>
                <a:gd name="T50" fmla="*/ 248 w 611"/>
                <a:gd name="T51" fmla="*/ 190 h 193"/>
                <a:gd name="T52" fmla="*/ 305 w 611"/>
                <a:gd name="T53" fmla="*/ 193 h 193"/>
                <a:gd name="T54" fmla="*/ 305 w 611"/>
                <a:gd name="T55" fmla="*/ 193 h 193"/>
                <a:gd name="T56" fmla="*/ 248 w 611"/>
                <a:gd name="T57" fmla="*/ 190 h 193"/>
                <a:gd name="T58" fmla="*/ 182 w 611"/>
                <a:gd name="T59" fmla="*/ 184 h 193"/>
                <a:gd name="T60" fmla="*/ 97 w 611"/>
                <a:gd name="T61" fmla="*/ 169 h 193"/>
                <a:gd name="T62" fmla="*/ 50 w 611"/>
                <a:gd name="T63" fmla="*/ 153 h 193"/>
                <a:gd name="T64" fmla="*/ 27 w 611"/>
                <a:gd name="T65" fmla="*/ 140 h 193"/>
                <a:gd name="T66" fmla="*/ 8 w 611"/>
                <a:gd name="T67" fmla="*/ 121 h 193"/>
                <a:gd name="T68" fmla="*/ 2 w 611"/>
                <a:gd name="T69" fmla="*/ 109 h 193"/>
                <a:gd name="T70" fmla="*/ 1 w 611"/>
                <a:gd name="T71" fmla="*/ 102 h 193"/>
                <a:gd name="T72" fmla="*/ 1 w 611"/>
                <a:gd name="T73" fmla="*/ 95 h 193"/>
                <a:gd name="T74" fmla="*/ 4 w 611"/>
                <a:gd name="T75" fmla="*/ 81 h 193"/>
                <a:gd name="T76" fmla="*/ 11 w 611"/>
                <a:gd name="T77" fmla="*/ 69 h 193"/>
                <a:gd name="T78" fmla="*/ 34 w 611"/>
                <a:gd name="T79" fmla="*/ 50 h 193"/>
                <a:gd name="T80" fmla="*/ 60 w 611"/>
                <a:gd name="T81" fmla="*/ 37 h 193"/>
                <a:gd name="T82" fmla="*/ 179 w 611"/>
                <a:gd name="T83" fmla="*/ 9 h 193"/>
                <a:gd name="T84" fmla="*/ 304 w 611"/>
                <a:gd name="T85" fmla="*/ 0 h 193"/>
                <a:gd name="T86" fmla="*/ 430 w 611"/>
                <a:gd name="T87" fmla="*/ 10 h 193"/>
                <a:gd name="T88" fmla="*/ 548 w 611"/>
                <a:gd name="T89" fmla="*/ 38 h 193"/>
                <a:gd name="T90" fmla="*/ 575 w 611"/>
                <a:gd name="T91" fmla="*/ 50 h 193"/>
                <a:gd name="T92" fmla="*/ 598 w 611"/>
                <a:gd name="T93" fmla="*/ 68 h 193"/>
                <a:gd name="T94" fmla="*/ 610 w 611"/>
                <a:gd name="T95" fmla="*/ 94 h 193"/>
                <a:gd name="T96" fmla="*/ 603 w 611"/>
                <a:gd name="T97" fmla="*/ 120 h 193"/>
                <a:gd name="T98" fmla="*/ 584 w 611"/>
                <a:gd name="T99" fmla="*/ 139 h 193"/>
                <a:gd name="T100" fmla="*/ 561 w 611"/>
                <a:gd name="T101" fmla="*/ 151 h 193"/>
                <a:gd name="T102" fmla="*/ 514 w 611"/>
                <a:gd name="T103" fmla="*/ 167 h 193"/>
                <a:gd name="T104" fmla="*/ 429 w 611"/>
                <a:gd name="T105" fmla="*/ 183 h 193"/>
                <a:gd name="T106" fmla="*/ 363 w 611"/>
                <a:gd name="T107" fmla="*/ 190 h 193"/>
                <a:gd name="T108" fmla="*/ 305 w 611"/>
                <a:gd name="T10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1" h="193">
                  <a:moveTo>
                    <a:pt x="305" y="193"/>
                  </a:moveTo>
                  <a:cubicBezTo>
                    <a:pt x="305" y="193"/>
                    <a:pt x="327" y="192"/>
                    <a:pt x="363" y="189"/>
                  </a:cubicBezTo>
                  <a:cubicBezTo>
                    <a:pt x="382" y="188"/>
                    <a:pt x="404" y="186"/>
                    <a:pt x="429" y="182"/>
                  </a:cubicBezTo>
                  <a:cubicBezTo>
                    <a:pt x="455" y="179"/>
                    <a:pt x="483" y="174"/>
                    <a:pt x="514" y="166"/>
                  </a:cubicBezTo>
                  <a:cubicBezTo>
                    <a:pt x="529" y="162"/>
                    <a:pt x="545" y="157"/>
                    <a:pt x="560" y="150"/>
                  </a:cubicBezTo>
                  <a:cubicBezTo>
                    <a:pt x="568" y="146"/>
                    <a:pt x="576" y="142"/>
                    <a:pt x="583" y="137"/>
                  </a:cubicBezTo>
                  <a:cubicBezTo>
                    <a:pt x="590" y="132"/>
                    <a:pt x="597" y="126"/>
                    <a:pt x="602" y="119"/>
                  </a:cubicBezTo>
                  <a:cubicBezTo>
                    <a:pt x="607" y="112"/>
                    <a:pt x="609" y="103"/>
                    <a:pt x="608" y="94"/>
                  </a:cubicBezTo>
                  <a:cubicBezTo>
                    <a:pt x="607" y="85"/>
                    <a:pt x="603" y="76"/>
                    <a:pt x="596" y="69"/>
                  </a:cubicBezTo>
                  <a:cubicBezTo>
                    <a:pt x="590" y="63"/>
                    <a:pt x="582" y="57"/>
                    <a:pt x="574" y="53"/>
                  </a:cubicBezTo>
                  <a:cubicBezTo>
                    <a:pt x="565" y="48"/>
                    <a:pt x="556" y="44"/>
                    <a:pt x="547" y="40"/>
                  </a:cubicBezTo>
                  <a:cubicBezTo>
                    <a:pt x="529" y="34"/>
                    <a:pt x="509" y="29"/>
                    <a:pt x="490" y="24"/>
                  </a:cubicBezTo>
                  <a:cubicBezTo>
                    <a:pt x="470" y="20"/>
                    <a:pt x="450" y="17"/>
                    <a:pt x="429" y="14"/>
                  </a:cubicBezTo>
                  <a:cubicBezTo>
                    <a:pt x="388" y="9"/>
                    <a:pt x="346" y="5"/>
                    <a:pt x="304" y="4"/>
                  </a:cubicBezTo>
                  <a:cubicBezTo>
                    <a:pt x="262" y="5"/>
                    <a:pt x="220" y="8"/>
                    <a:pt x="179" y="13"/>
                  </a:cubicBezTo>
                  <a:cubicBezTo>
                    <a:pt x="159" y="16"/>
                    <a:pt x="138" y="19"/>
                    <a:pt x="119" y="23"/>
                  </a:cubicBezTo>
                  <a:cubicBezTo>
                    <a:pt x="99" y="27"/>
                    <a:pt x="80" y="33"/>
                    <a:pt x="61" y="40"/>
                  </a:cubicBezTo>
                  <a:cubicBezTo>
                    <a:pt x="43" y="47"/>
                    <a:pt x="25" y="56"/>
                    <a:pt x="13" y="70"/>
                  </a:cubicBezTo>
                  <a:cubicBezTo>
                    <a:pt x="10" y="74"/>
                    <a:pt x="8" y="78"/>
                    <a:pt x="6" y="82"/>
                  </a:cubicBezTo>
                  <a:cubicBezTo>
                    <a:pt x="4" y="86"/>
                    <a:pt x="3" y="90"/>
                    <a:pt x="3" y="95"/>
                  </a:cubicBezTo>
                  <a:cubicBezTo>
                    <a:pt x="2" y="104"/>
                    <a:pt x="5" y="113"/>
                    <a:pt x="10" y="120"/>
                  </a:cubicBezTo>
                  <a:cubicBezTo>
                    <a:pt x="14" y="128"/>
                    <a:pt x="21" y="134"/>
                    <a:pt x="28" y="139"/>
                  </a:cubicBezTo>
                  <a:cubicBezTo>
                    <a:pt x="35" y="144"/>
                    <a:pt x="43" y="148"/>
                    <a:pt x="51" y="151"/>
                  </a:cubicBezTo>
                  <a:cubicBezTo>
                    <a:pt x="66" y="159"/>
                    <a:pt x="82" y="164"/>
                    <a:pt x="97" y="168"/>
                  </a:cubicBezTo>
                  <a:cubicBezTo>
                    <a:pt x="128" y="176"/>
                    <a:pt x="156" y="180"/>
                    <a:pt x="182" y="184"/>
                  </a:cubicBezTo>
                  <a:cubicBezTo>
                    <a:pt x="207" y="187"/>
                    <a:pt x="229" y="189"/>
                    <a:pt x="248" y="190"/>
                  </a:cubicBezTo>
                  <a:cubicBezTo>
                    <a:pt x="284" y="193"/>
                    <a:pt x="305" y="193"/>
                    <a:pt x="305" y="193"/>
                  </a:cubicBezTo>
                  <a:close/>
                  <a:moveTo>
                    <a:pt x="305" y="193"/>
                  </a:moveTo>
                  <a:cubicBezTo>
                    <a:pt x="305" y="193"/>
                    <a:pt x="284" y="193"/>
                    <a:pt x="248" y="190"/>
                  </a:cubicBezTo>
                  <a:cubicBezTo>
                    <a:pt x="229" y="189"/>
                    <a:pt x="207" y="187"/>
                    <a:pt x="182" y="184"/>
                  </a:cubicBezTo>
                  <a:cubicBezTo>
                    <a:pt x="156" y="181"/>
                    <a:pt x="127" y="176"/>
                    <a:pt x="97" y="169"/>
                  </a:cubicBezTo>
                  <a:cubicBezTo>
                    <a:pt x="82" y="165"/>
                    <a:pt x="66" y="160"/>
                    <a:pt x="50" y="153"/>
                  </a:cubicBezTo>
                  <a:cubicBezTo>
                    <a:pt x="42" y="149"/>
                    <a:pt x="35" y="145"/>
                    <a:pt x="27" y="140"/>
                  </a:cubicBezTo>
                  <a:cubicBezTo>
                    <a:pt x="20" y="135"/>
                    <a:pt x="13" y="129"/>
                    <a:pt x="8" y="121"/>
                  </a:cubicBezTo>
                  <a:cubicBezTo>
                    <a:pt x="5" y="118"/>
                    <a:pt x="3" y="113"/>
                    <a:pt x="2" y="109"/>
                  </a:cubicBezTo>
                  <a:cubicBezTo>
                    <a:pt x="1" y="107"/>
                    <a:pt x="1" y="104"/>
                    <a:pt x="1" y="102"/>
                  </a:cubicBezTo>
                  <a:cubicBezTo>
                    <a:pt x="1" y="100"/>
                    <a:pt x="0" y="97"/>
                    <a:pt x="1" y="95"/>
                  </a:cubicBezTo>
                  <a:cubicBezTo>
                    <a:pt x="1" y="90"/>
                    <a:pt x="2" y="85"/>
                    <a:pt x="4" y="81"/>
                  </a:cubicBezTo>
                  <a:cubicBezTo>
                    <a:pt x="6" y="76"/>
                    <a:pt x="8" y="72"/>
                    <a:pt x="11" y="69"/>
                  </a:cubicBezTo>
                  <a:cubicBezTo>
                    <a:pt x="17" y="61"/>
                    <a:pt x="25" y="55"/>
                    <a:pt x="34" y="50"/>
                  </a:cubicBezTo>
                  <a:cubicBezTo>
                    <a:pt x="42" y="45"/>
                    <a:pt x="51" y="41"/>
                    <a:pt x="60" y="37"/>
                  </a:cubicBezTo>
                  <a:cubicBezTo>
                    <a:pt x="97" y="23"/>
                    <a:pt x="138" y="15"/>
                    <a:pt x="179" y="9"/>
                  </a:cubicBezTo>
                  <a:cubicBezTo>
                    <a:pt x="220" y="4"/>
                    <a:pt x="262" y="1"/>
                    <a:pt x="304" y="0"/>
                  </a:cubicBezTo>
                  <a:cubicBezTo>
                    <a:pt x="347" y="1"/>
                    <a:pt x="388" y="5"/>
                    <a:pt x="430" y="10"/>
                  </a:cubicBezTo>
                  <a:cubicBezTo>
                    <a:pt x="471" y="16"/>
                    <a:pt x="511" y="24"/>
                    <a:pt x="548" y="38"/>
                  </a:cubicBezTo>
                  <a:cubicBezTo>
                    <a:pt x="558" y="41"/>
                    <a:pt x="567" y="45"/>
                    <a:pt x="575" y="50"/>
                  </a:cubicBezTo>
                  <a:cubicBezTo>
                    <a:pt x="584" y="55"/>
                    <a:pt x="592" y="61"/>
                    <a:pt x="598" y="68"/>
                  </a:cubicBezTo>
                  <a:cubicBezTo>
                    <a:pt x="605" y="75"/>
                    <a:pt x="609" y="84"/>
                    <a:pt x="610" y="94"/>
                  </a:cubicBezTo>
                  <a:cubicBezTo>
                    <a:pt x="611" y="103"/>
                    <a:pt x="608" y="113"/>
                    <a:pt x="603" y="120"/>
                  </a:cubicBezTo>
                  <a:cubicBezTo>
                    <a:pt x="598" y="128"/>
                    <a:pt x="591" y="134"/>
                    <a:pt x="584" y="139"/>
                  </a:cubicBezTo>
                  <a:cubicBezTo>
                    <a:pt x="576" y="144"/>
                    <a:pt x="568" y="148"/>
                    <a:pt x="561" y="151"/>
                  </a:cubicBezTo>
                  <a:cubicBezTo>
                    <a:pt x="545" y="158"/>
                    <a:pt x="529" y="163"/>
                    <a:pt x="514" y="167"/>
                  </a:cubicBezTo>
                  <a:cubicBezTo>
                    <a:pt x="483" y="175"/>
                    <a:pt x="455" y="179"/>
                    <a:pt x="429" y="183"/>
                  </a:cubicBezTo>
                  <a:cubicBezTo>
                    <a:pt x="404" y="186"/>
                    <a:pt x="382" y="188"/>
                    <a:pt x="363" y="190"/>
                  </a:cubicBezTo>
                  <a:cubicBezTo>
                    <a:pt x="327" y="192"/>
                    <a:pt x="305" y="193"/>
                    <a:pt x="305" y="193"/>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77" name="Freeform 10">
              <a:extLst>
                <a:ext uri="{FF2B5EF4-FFF2-40B4-BE49-F238E27FC236}">
                  <a16:creationId xmlns:a16="http://schemas.microsoft.com/office/drawing/2014/main" id="{BA5F2F64-968E-4144-B859-BB6C234C29F5}"/>
                </a:ext>
              </a:extLst>
            </p:cNvPr>
            <p:cNvSpPr>
              <a:spLocks noEditPoints="1"/>
            </p:cNvSpPr>
            <p:nvPr/>
          </p:nvSpPr>
          <p:spPr bwMode="auto">
            <a:xfrm>
              <a:off x="10849699" y="2211203"/>
              <a:ext cx="2684602" cy="636134"/>
            </a:xfrm>
            <a:custGeom>
              <a:avLst/>
              <a:gdLst>
                <a:gd name="T0" fmla="*/ 342 w 685"/>
                <a:gd name="T1" fmla="*/ 162 h 162"/>
                <a:gd name="T2" fmla="*/ 405 w 685"/>
                <a:gd name="T3" fmla="*/ 159 h 162"/>
                <a:gd name="T4" fmla="*/ 477 w 685"/>
                <a:gd name="T5" fmla="*/ 153 h 162"/>
                <a:gd name="T6" fmla="*/ 569 w 685"/>
                <a:gd name="T7" fmla="*/ 141 h 162"/>
                <a:gd name="T8" fmla="*/ 621 w 685"/>
                <a:gd name="T9" fmla="*/ 128 h 162"/>
                <a:gd name="T10" fmla="*/ 647 w 685"/>
                <a:gd name="T11" fmla="*/ 118 h 162"/>
                <a:gd name="T12" fmla="*/ 672 w 685"/>
                <a:gd name="T13" fmla="*/ 104 h 162"/>
                <a:gd name="T14" fmla="*/ 680 w 685"/>
                <a:gd name="T15" fmla="*/ 92 h 162"/>
                <a:gd name="T16" fmla="*/ 683 w 685"/>
                <a:gd name="T17" fmla="*/ 86 h 162"/>
                <a:gd name="T18" fmla="*/ 683 w 685"/>
                <a:gd name="T19" fmla="*/ 82 h 162"/>
                <a:gd name="T20" fmla="*/ 682 w 685"/>
                <a:gd name="T21" fmla="*/ 78 h 162"/>
                <a:gd name="T22" fmla="*/ 676 w 685"/>
                <a:gd name="T23" fmla="*/ 65 h 162"/>
                <a:gd name="T24" fmla="*/ 665 w 685"/>
                <a:gd name="T25" fmla="*/ 56 h 162"/>
                <a:gd name="T26" fmla="*/ 637 w 685"/>
                <a:gd name="T27" fmla="*/ 42 h 162"/>
                <a:gd name="T28" fmla="*/ 607 w 685"/>
                <a:gd name="T29" fmla="*/ 33 h 162"/>
                <a:gd name="T30" fmla="*/ 477 w 685"/>
                <a:gd name="T31" fmla="*/ 12 h 162"/>
                <a:gd name="T32" fmla="*/ 342 w 685"/>
                <a:gd name="T33" fmla="*/ 4 h 162"/>
                <a:gd name="T34" fmla="*/ 206 w 685"/>
                <a:gd name="T35" fmla="*/ 11 h 162"/>
                <a:gd name="T36" fmla="*/ 76 w 685"/>
                <a:gd name="T37" fmla="*/ 32 h 162"/>
                <a:gd name="T38" fmla="*/ 46 w 685"/>
                <a:gd name="T39" fmla="*/ 41 h 162"/>
                <a:gd name="T40" fmla="*/ 19 w 685"/>
                <a:gd name="T41" fmla="*/ 56 h 162"/>
                <a:gd name="T42" fmla="*/ 8 w 685"/>
                <a:gd name="T43" fmla="*/ 66 h 162"/>
                <a:gd name="T44" fmla="*/ 2 w 685"/>
                <a:gd name="T45" fmla="*/ 79 h 162"/>
                <a:gd name="T46" fmla="*/ 14 w 685"/>
                <a:gd name="T47" fmla="*/ 105 h 162"/>
                <a:gd name="T48" fmla="*/ 38 w 685"/>
                <a:gd name="T49" fmla="*/ 120 h 162"/>
                <a:gd name="T50" fmla="*/ 64 w 685"/>
                <a:gd name="T51" fmla="*/ 130 h 162"/>
                <a:gd name="T52" fmla="*/ 116 w 685"/>
                <a:gd name="T53" fmla="*/ 142 h 162"/>
                <a:gd name="T54" fmla="*/ 208 w 685"/>
                <a:gd name="T55" fmla="*/ 155 h 162"/>
                <a:gd name="T56" fmla="*/ 280 w 685"/>
                <a:gd name="T57" fmla="*/ 160 h 162"/>
                <a:gd name="T58" fmla="*/ 342 w 685"/>
                <a:gd name="T59" fmla="*/ 162 h 162"/>
                <a:gd name="T60" fmla="*/ 342 w 685"/>
                <a:gd name="T61" fmla="*/ 162 h 162"/>
                <a:gd name="T62" fmla="*/ 280 w 685"/>
                <a:gd name="T63" fmla="*/ 160 h 162"/>
                <a:gd name="T64" fmla="*/ 208 w 685"/>
                <a:gd name="T65" fmla="*/ 155 h 162"/>
                <a:gd name="T66" fmla="*/ 116 w 685"/>
                <a:gd name="T67" fmla="*/ 143 h 162"/>
                <a:gd name="T68" fmla="*/ 64 w 685"/>
                <a:gd name="T69" fmla="*/ 131 h 162"/>
                <a:gd name="T70" fmla="*/ 37 w 685"/>
                <a:gd name="T71" fmla="*/ 121 h 162"/>
                <a:gd name="T72" fmla="*/ 12 w 685"/>
                <a:gd name="T73" fmla="*/ 106 h 162"/>
                <a:gd name="T74" fmla="*/ 3 w 685"/>
                <a:gd name="T75" fmla="*/ 94 h 162"/>
                <a:gd name="T76" fmla="*/ 1 w 685"/>
                <a:gd name="T77" fmla="*/ 87 h 162"/>
                <a:gd name="T78" fmla="*/ 0 w 685"/>
                <a:gd name="T79" fmla="*/ 83 h 162"/>
                <a:gd name="T80" fmla="*/ 0 w 685"/>
                <a:gd name="T81" fmla="*/ 79 h 162"/>
                <a:gd name="T82" fmla="*/ 6 w 685"/>
                <a:gd name="T83" fmla="*/ 65 h 162"/>
                <a:gd name="T84" fmla="*/ 17 w 685"/>
                <a:gd name="T85" fmla="*/ 54 h 162"/>
                <a:gd name="T86" fmla="*/ 45 w 685"/>
                <a:gd name="T87" fmla="*/ 39 h 162"/>
                <a:gd name="T88" fmla="*/ 75 w 685"/>
                <a:gd name="T89" fmla="*/ 29 h 162"/>
                <a:gd name="T90" fmla="*/ 206 w 685"/>
                <a:gd name="T91" fmla="*/ 8 h 162"/>
                <a:gd name="T92" fmla="*/ 341 w 685"/>
                <a:gd name="T93" fmla="*/ 0 h 162"/>
                <a:gd name="T94" fmla="*/ 477 w 685"/>
                <a:gd name="T95" fmla="*/ 9 h 162"/>
                <a:gd name="T96" fmla="*/ 607 w 685"/>
                <a:gd name="T97" fmla="*/ 30 h 162"/>
                <a:gd name="T98" fmla="*/ 638 w 685"/>
                <a:gd name="T99" fmla="*/ 40 h 162"/>
                <a:gd name="T100" fmla="*/ 666 w 685"/>
                <a:gd name="T101" fmla="*/ 54 h 162"/>
                <a:gd name="T102" fmla="*/ 678 w 685"/>
                <a:gd name="T103" fmla="*/ 64 h 162"/>
                <a:gd name="T104" fmla="*/ 684 w 685"/>
                <a:gd name="T105" fmla="*/ 78 h 162"/>
                <a:gd name="T106" fmla="*/ 685 w 685"/>
                <a:gd name="T107" fmla="*/ 82 h 162"/>
                <a:gd name="T108" fmla="*/ 684 w 685"/>
                <a:gd name="T109" fmla="*/ 86 h 162"/>
                <a:gd name="T110" fmla="*/ 682 w 685"/>
                <a:gd name="T111" fmla="*/ 93 h 162"/>
                <a:gd name="T112" fmla="*/ 673 w 685"/>
                <a:gd name="T113" fmla="*/ 105 h 162"/>
                <a:gd name="T114" fmla="*/ 648 w 685"/>
                <a:gd name="T115" fmla="*/ 120 h 162"/>
                <a:gd name="T116" fmla="*/ 621 w 685"/>
                <a:gd name="T117" fmla="*/ 130 h 162"/>
                <a:gd name="T118" fmla="*/ 569 w 685"/>
                <a:gd name="T119" fmla="*/ 142 h 162"/>
                <a:gd name="T120" fmla="*/ 477 w 685"/>
                <a:gd name="T121" fmla="*/ 154 h 162"/>
                <a:gd name="T122" fmla="*/ 405 w 685"/>
                <a:gd name="T123" fmla="*/ 160 h 162"/>
                <a:gd name="T124" fmla="*/ 342 w 685"/>
                <a:gd name="T1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5" h="162">
                  <a:moveTo>
                    <a:pt x="342" y="162"/>
                  </a:moveTo>
                  <a:cubicBezTo>
                    <a:pt x="342" y="162"/>
                    <a:pt x="365" y="162"/>
                    <a:pt x="405" y="159"/>
                  </a:cubicBezTo>
                  <a:cubicBezTo>
                    <a:pt x="425" y="158"/>
                    <a:pt x="449" y="156"/>
                    <a:pt x="477" y="153"/>
                  </a:cubicBezTo>
                  <a:cubicBezTo>
                    <a:pt x="504" y="151"/>
                    <a:pt x="536" y="147"/>
                    <a:pt x="569" y="141"/>
                  </a:cubicBezTo>
                  <a:cubicBezTo>
                    <a:pt x="586" y="137"/>
                    <a:pt x="603" y="133"/>
                    <a:pt x="621" y="128"/>
                  </a:cubicBezTo>
                  <a:cubicBezTo>
                    <a:pt x="630" y="125"/>
                    <a:pt x="638" y="122"/>
                    <a:pt x="647" y="118"/>
                  </a:cubicBezTo>
                  <a:cubicBezTo>
                    <a:pt x="656" y="115"/>
                    <a:pt x="664" y="110"/>
                    <a:pt x="672" y="104"/>
                  </a:cubicBezTo>
                  <a:cubicBezTo>
                    <a:pt x="675" y="100"/>
                    <a:pt x="678" y="97"/>
                    <a:pt x="680" y="92"/>
                  </a:cubicBezTo>
                  <a:cubicBezTo>
                    <a:pt x="681" y="90"/>
                    <a:pt x="682" y="88"/>
                    <a:pt x="683" y="86"/>
                  </a:cubicBezTo>
                  <a:cubicBezTo>
                    <a:pt x="683" y="84"/>
                    <a:pt x="683" y="83"/>
                    <a:pt x="683" y="82"/>
                  </a:cubicBezTo>
                  <a:cubicBezTo>
                    <a:pt x="683" y="81"/>
                    <a:pt x="683" y="79"/>
                    <a:pt x="682" y="78"/>
                  </a:cubicBezTo>
                  <a:cubicBezTo>
                    <a:pt x="682" y="74"/>
                    <a:pt x="679" y="69"/>
                    <a:pt x="676" y="65"/>
                  </a:cubicBezTo>
                  <a:cubicBezTo>
                    <a:pt x="673" y="62"/>
                    <a:pt x="669" y="58"/>
                    <a:pt x="665" y="56"/>
                  </a:cubicBezTo>
                  <a:cubicBezTo>
                    <a:pt x="656" y="50"/>
                    <a:pt x="647" y="46"/>
                    <a:pt x="637" y="42"/>
                  </a:cubicBezTo>
                  <a:cubicBezTo>
                    <a:pt x="627" y="38"/>
                    <a:pt x="617" y="35"/>
                    <a:pt x="607" y="33"/>
                  </a:cubicBezTo>
                  <a:cubicBezTo>
                    <a:pt x="566" y="22"/>
                    <a:pt x="522" y="16"/>
                    <a:pt x="477" y="12"/>
                  </a:cubicBezTo>
                  <a:cubicBezTo>
                    <a:pt x="433" y="8"/>
                    <a:pt x="387" y="5"/>
                    <a:pt x="342" y="4"/>
                  </a:cubicBezTo>
                  <a:cubicBezTo>
                    <a:pt x="296" y="5"/>
                    <a:pt x="250" y="7"/>
                    <a:pt x="206" y="11"/>
                  </a:cubicBezTo>
                  <a:cubicBezTo>
                    <a:pt x="161" y="15"/>
                    <a:pt x="117" y="21"/>
                    <a:pt x="76" y="32"/>
                  </a:cubicBezTo>
                  <a:cubicBezTo>
                    <a:pt x="66" y="34"/>
                    <a:pt x="56" y="37"/>
                    <a:pt x="46" y="41"/>
                  </a:cubicBezTo>
                  <a:cubicBezTo>
                    <a:pt x="36" y="45"/>
                    <a:pt x="27" y="50"/>
                    <a:pt x="19" y="56"/>
                  </a:cubicBezTo>
                  <a:cubicBezTo>
                    <a:pt x="15" y="59"/>
                    <a:pt x="11" y="62"/>
                    <a:pt x="8" y="66"/>
                  </a:cubicBezTo>
                  <a:cubicBezTo>
                    <a:pt x="5" y="70"/>
                    <a:pt x="3" y="74"/>
                    <a:pt x="2" y="79"/>
                  </a:cubicBezTo>
                  <a:cubicBezTo>
                    <a:pt x="1" y="89"/>
                    <a:pt x="7" y="98"/>
                    <a:pt x="14" y="105"/>
                  </a:cubicBezTo>
                  <a:cubicBezTo>
                    <a:pt x="21" y="111"/>
                    <a:pt x="29" y="116"/>
                    <a:pt x="38" y="120"/>
                  </a:cubicBezTo>
                  <a:cubicBezTo>
                    <a:pt x="46" y="124"/>
                    <a:pt x="55" y="127"/>
                    <a:pt x="64" y="130"/>
                  </a:cubicBezTo>
                  <a:cubicBezTo>
                    <a:pt x="82" y="135"/>
                    <a:pt x="99" y="139"/>
                    <a:pt x="116" y="142"/>
                  </a:cubicBezTo>
                  <a:cubicBezTo>
                    <a:pt x="149" y="148"/>
                    <a:pt x="181" y="152"/>
                    <a:pt x="208" y="155"/>
                  </a:cubicBezTo>
                  <a:cubicBezTo>
                    <a:pt x="236" y="157"/>
                    <a:pt x="260" y="159"/>
                    <a:pt x="280" y="160"/>
                  </a:cubicBezTo>
                  <a:cubicBezTo>
                    <a:pt x="320" y="162"/>
                    <a:pt x="342" y="162"/>
                    <a:pt x="342" y="162"/>
                  </a:cubicBezTo>
                  <a:close/>
                  <a:moveTo>
                    <a:pt x="342" y="162"/>
                  </a:moveTo>
                  <a:cubicBezTo>
                    <a:pt x="342" y="162"/>
                    <a:pt x="320" y="162"/>
                    <a:pt x="280" y="160"/>
                  </a:cubicBezTo>
                  <a:cubicBezTo>
                    <a:pt x="260" y="159"/>
                    <a:pt x="236" y="158"/>
                    <a:pt x="208" y="155"/>
                  </a:cubicBezTo>
                  <a:cubicBezTo>
                    <a:pt x="180" y="153"/>
                    <a:pt x="149" y="149"/>
                    <a:pt x="116" y="143"/>
                  </a:cubicBezTo>
                  <a:cubicBezTo>
                    <a:pt x="99" y="140"/>
                    <a:pt x="81" y="136"/>
                    <a:pt x="64" y="131"/>
                  </a:cubicBezTo>
                  <a:cubicBezTo>
                    <a:pt x="55" y="128"/>
                    <a:pt x="46" y="125"/>
                    <a:pt x="37" y="121"/>
                  </a:cubicBezTo>
                  <a:cubicBezTo>
                    <a:pt x="28" y="117"/>
                    <a:pt x="20" y="113"/>
                    <a:pt x="12" y="106"/>
                  </a:cubicBezTo>
                  <a:cubicBezTo>
                    <a:pt x="9" y="103"/>
                    <a:pt x="5" y="99"/>
                    <a:pt x="3" y="94"/>
                  </a:cubicBezTo>
                  <a:cubicBezTo>
                    <a:pt x="2" y="92"/>
                    <a:pt x="1" y="89"/>
                    <a:pt x="1" y="87"/>
                  </a:cubicBezTo>
                  <a:cubicBezTo>
                    <a:pt x="0" y="85"/>
                    <a:pt x="0" y="84"/>
                    <a:pt x="0" y="83"/>
                  </a:cubicBezTo>
                  <a:cubicBezTo>
                    <a:pt x="0" y="82"/>
                    <a:pt x="0" y="80"/>
                    <a:pt x="0" y="79"/>
                  </a:cubicBezTo>
                  <a:cubicBezTo>
                    <a:pt x="1" y="74"/>
                    <a:pt x="3" y="69"/>
                    <a:pt x="6" y="65"/>
                  </a:cubicBezTo>
                  <a:cubicBezTo>
                    <a:pt x="9" y="60"/>
                    <a:pt x="13" y="57"/>
                    <a:pt x="17" y="54"/>
                  </a:cubicBezTo>
                  <a:cubicBezTo>
                    <a:pt x="26" y="48"/>
                    <a:pt x="35" y="43"/>
                    <a:pt x="45" y="39"/>
                  </a:cubicBezTo>
                  <a:cubicBezTo>
                    <a:pt x="55" y="35"/>
                    <a:pt x="65" y="32"/>
                    <a:pt x="75" y="29"/>
                  </a:cubicBezTo>
                  <a:cubicBezTo>
                    <a:pt x="117" y="18"/>
                    <a:pt x="161" y="12"/>
                    <a:pt x="206" y="8"/>
                  </a:cubicBezTo>
                  <a:cubicBezTo>
                    <a:pt x="250" y="4"/>
                    <a:pt x="296" y="1"/>
                    <a:pt x="341" y="0"/>
                  </a:cubicBezTo>
                  <a:cubicBezTo>
                    <a:pt x="387" y="1"/>
                    <a:pt x="433" y="4"/>
                    <a:pt x="477" y="9"/>
                  </a:cubicBezTo>
                  <a:cubicBezTo>
                    <a:pt x="522" y="13"/>
                    <a:pt x="566" y="19"/>
                    <a:pt x="607" y="30"/>
                  </a:cubicBezTo>
                  <a:cubicBezTo>
                    <a:pt x="618" y="33"/>
                    <a:pt x="628" y="36"/>
                    <a:pt x="638" y="40"/>
                  </a:cubicBezTo>
                  <a:cubicBezTo>
                    <a:pt x="648" y="44"/>
                    <a:pt x="657" y="48"/>
                    <a:pt x="666" y="54"/>
                  </a:cubicBezTo>
                  <a:cubicBezTo>
                    <a:pt x="670" y="57"/>
                    <a:pt x="674" y="60"/>
                    <a:pt x="678" y="64"/>
                  </a:cubicBezTo>
                  <a:cubicBezTo>
                    <a:pt x="681" y="68"/>
                    <a:pt x="684" y="73"/>
                    <a:pt x="684" y="78"/>
                  </a:cubicBezTo>
                  <a:cubicBezTo>
                    <a:pt x="685" y="79"/>
                    <a:pt x="685" y="81"/>
                    <a:pt x="685" y="82"/>
                  </a:cubicBezTo>
                  <a:cubicBezTo>
                    <a:pt x="685" y="83"/>
                    <a:pt x="685" y="85"/>
                    <a:pt x="684" y="86"/>
                  </a:cubicBezTo>
                  <a:cubicBezTo>
                    <a:pt x="684" y="88"/>
                    <a:pt x="683" y="91"/>
                    <a:pt x="682" y="93"/>
                  </a:cubicBezTo>
                  <a:cubicBezTo>
                    <a:pt x="680" y="98"/>
                    <a:pt x="676" y="102"/>
                    <a:pt x="673" y="105"/>
                  </a:cubicBezTo>
                  <a:cubicBezTo>
                    <a:pt x="665" y="112"/>
                    <a:pt x="656" y="116"/>
                    <a:pt x="648" y="120"/>
                  </a:cubicBezTo>
                  <a:cubicBezTo>
                    <a:pt x="639" y="124"/>
                    <a:pt x="630" y="127"/>
                    <a:pt x="621" y="130"/>
                  </a:cubicBezTo>
                  <a:cubicBezTo>
                    <a:pt x="604" y="135"/>
                    <a:pt x="586" y="139"/>
                    <a:pt x="569" y="142"/>
                  </a:cubicBezTo>
                  <a:cubicBezTo>
                    <a:pt x="536" y="148"/>
                    <a:pt x="504" y="152"/>
                    <a:pt x="477" y="154"/>
                  </a:cubicBezTo>
                  <a:cubicBezTo>
                    <a:pt x="449" y="157"/>
                    <a:pt x="425" y="158"/>
                    <a:pt x="405" y="160"/>
                  </a:cubicBezTo>
                  <a:cubicBezTo>
                    <a:pt x="365" y="162"/>
                    <a:pt x="342" y="162"/>
                    <a:pt x="342" y="162"/>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78" name="Freeform 11">
              <a:extLst>
                <a:ext uri="{FF2B5EF4-FFF2-40B4-BE49-F238E27FC236}">
                  <a16:creationId xmlns:a16="http://schemas.microsoft.com/office/drawing/2014/main" id="{E6A23E8B-FD1A-7D41-B318-D545494CD78B}"/>
                </a:ext>
              </a:extLst>
            </p:cNvPr>
            <p:cNvSpPr>
              <a:spLocks noEditPoints="1"/>
            </p:cNvSpPr>
            <p:nvPr/>
          </p:nvSpPr>
          <p:spPr bwMode="auto">
            <a:xfrm>
              <a:off x="10468408" y="3059381"/>
              <a:ext cx="3447184" cy="77815"/>
            </a:xfrm>
            <a:custGeom>
              <a:avLst/>
              <a:gdLst>
                <a:gd name="T0" fmla="*/ 439 w 879"/>
                <a:gd name="T1" fmla="*/ 0 h 20"/>
                <a:gd name="T2" fmla="*/ 515 w 879"/>
                <a:gd name="T3" fmla="*/ 0 h 20"/>
                <a:gd name="T4" fmla="*/ 714 w 879"/>
                <a:gd name="T5" fmla="*/ 1 h 20"/>
                <a:gd name="T6" fmla="*/ 847 w 879"/>
                <a:gd name="T7" fmla="*/ 4 h 20"/>
                <a:gd name="T8" fmla="*/ 864 w 879"/>
                <a:gd name="T9" fmla="*/ 5 h 20"/>
                <a:gd name="T10" fmla="*/ 873 w 879"/>
                <a:gd name="T11" fmla="*/ 6 h 20"/>
                <a:gd name="T12" fmla="*/ 876 w 879"/>
                <a:gd name="T13" fmla="*/ 7 h 20"/>
                <a:gd name="T14" fmla="*/ 878 w 879"/>
                <a:gd name="T15" fmla="*/ 8 h 20"/>
                <a:gd name="T16" fmla="*/ 879 w 879"/>
                <a:gd name="T17" fmla="*/ 9 h 20"/>
                <a:gd name="T18" fmla="*/ 878 w 879"/>
                <a:gd name="T19" fmla="*/ 10 h 20"/>
                <a:gd name="T20" fmla="*/ 876 w 879"/>
                <a:gd name="T21" fmla="*/ 11 h 20"/>
                <a:gd name="T22" fmla="*/ 874 w 879"/>
                <a:gd name="T23" fmla="*/ 11 h 20"/>
                <a:gd name="T24" fmla="*/ 837 w 879"/>
                <a:gd name="T25" fmla="*/ 14 h 20"/>
                <a:gd name="T26" fmla="*/ 762 w 879"/>
                <a:gd name="T27" fmla="*/ 16 h 20"/>
                <a:gd name="T28" fmla="*/ 439 w 879"/>
                <a:gd name="T29" fmla="*/ 20 h 20"/>
                <a:gd name="T30" fmla="*/ 117 w 879"/>
                <a:gd name="T31" fmla="*/ 16 h 20"/>
                <a:gd name="T32" fmla="*/ 41 w 879"/>
                <a:gd name="T33" fmla="*/ 14 h 20"/>
                <a:gd name="T34" fmla="*/ 5 w 879"/>
                <a:gd name="T35" fmla="*/ 11 h 20"/>
                <a:gd name="T36" fmla="*/ 2 w 879"/>
                <a:gd name="T37" fmla="*/ 11 h 20"/>
                <a:gd name="T38" fmla="*/ 1 w 879"/>
                <a:gd name="T39" fmla="*/ 10 h 20"/>
                <a:gd name="T40" fmla="*/ 0 w 879"/>
                <a:gd name="T41" fmla="*/ 9 h 20"/>
                <a:gd name="T42" fmla="*/ 1 w 879"/>
                <a:gd name="T43" fmla="*/ 8 h 20"/>
                <a:gd name="T44" fmla="*/ 3 w 879"/>
                <a:gd name="T45" fmla="*/ 7 h 20"/>
                <a:gd name="T46" fmla="*/ 6 w 879"/>
                <a:gd name="T47" fmla="*/ 6 h 20"/>
                <a:gd name="T48" fmla="*/ 15 w 879"/>
                <a:gd name="T49" fmla="*/ 5 h 20"/>
                <a:gd name="T50" fmla="*/ 32 w 879"/>
                <a:gd name="T51" fmla="*/ 4 h 20"/>
                <a:gd name="T52" fmla="*/ 165 w 879"/>
                <a:gd name="T53" fmla="*/ 1 h 20"/>
                <a:gd name="T54" fmla="*/ 364 w 879"/>
                <a:gd name="T55" fmla="*/ 0 h 20"/>
                <a:gd name="T56" fmla="*/ 439 w 879"/>
                <a:gd name="T57" fmla="*/ 0 h 20"/>
                <a:gd name="T58" fmla="*/ 439 w 879"/>
                <a:gd name="T59" fmla="*/ 0 h 20"/>
                <a:gd name="T60" fmla="*/ 364 w 879"/>
                <a:gd name="T61" fmla="*/ 0 h 20"/>
                <a:gd name="T62" fmla="*/ 165 w 879"/>
                <a:gd name="T63" fmla="*/ 2 h 20"/>
                <a:gd name="T64" fmla="*/ 33 w 879"/>
                <a:gd name="T65" fmla="*/ 6 h 20"/>
                <a:gd name="T66" fmla="*/ 15 w 879"/>
                <a:gd name="T67" fmla="*/ 7 h 20"/>
                <a:gd name="T68" fmla="*/ 6 w 879"/>
                <a:gd name="T69" fmla="*/ 8 h 20"/>
                <a:gd name="T70" fmla="*/ 4 w 879"/>
                <a:gd name="T71" fmla="*/ 9 h 20"/>
                <a:gd name="T72" fmla="*/ 2 w 879"/>
                <a:gd name="T73" fmla="*/ 9 h 20"/>
                <a:gd name="T74" fmla="*/ 2 w 879"/>
                <a:gd name="T75" fmla="*/ 8 h 20"/>
                <a:gd name="T76" fmla="*/ 2 w 879"/>
                <a:gd name="T77" fmla="*/ 8 h 20"/>
                <a:gd name="T78" fmla="*/ 3 w 879"/>
                <a:gd name="T79" fmla="*/ 9 h 20"/>
                <a:gd name="T80" fmla="*/ 5 w 879"/>
                <a:gd name="T81" fmla="*/ 9 h 20"/>
                <a:gd name="T82" fmla="*/ 42 w 879"/>
                <a:gd name="T83" fmla="*/ 12 h 20"/>
                <a:gd name="T84" fmla="*/ 117 w 879"/>
                <a:gd name="T85" fmla="*/ 14 h 20"/>
                <a:gd name="T86" fmla="*/ 439 w 879"/>
                <a:gd name="T87" fmla="*/ 16 h 20"/>
                <a:gd name="T88" fmla="*/ 762 w 879"/>
                <a:gd name="T89" fmla="*/ 13 h 20"/>
                <a:gd name="T90" fmla="*/ 837 w 879"/>
                <a:gd name="T91" fmla="*/ 11 h 20"/>
                <a:gd name="T92" fmla="*/ 874 w 879"/>
                <a:gd name="T93" fmla="*/ 9 h 20"/>
                <a:gd name="T94" fmla="*/ 876 w 879"/>
                <a:gd name="T95" fmla="*/ 9 h 20"/>
                <a:gd name="T96" fmla="*/ 877 w 879"/>
                <a:gd name="T97" fmla="*/ 8 h 20"/>
                <a:gd name="T98" fmla="*/ 877 w 879"/>
                <a:gd name="T99" fmla="*/ 9 h 20"/>
                <a:gd name="T100" fmla="*/ 877 w 879"/>
                <a:gd name="T101" fmla="*/ 9 h 20"/>
                <a:gd name="T102" fmla="*/ 875 w 879"/>
                <a:gd name="T103" fmla="*/ 9 h 20"/>
                <a:gd name="T104" fmla="*/ 873 w 879"/>
                <a:gd name="T105" fmla="*/ 8 h 20"/>
                <a:gd name="T106" fmla="*/ 864 w 879"/>
                <a:gd name="T107" fmla="*/ 7 h 20"/>
                <a:gd name="T108" fmla="*/ 846 w 879"/>
                <a:gd name="T109" fmla="*/ 6 h 20"/>
                <a:gd name="T110" fmla="*/ 714 w 879"/>
                <a:gd name="T111" fmla="*/ 3 h 20"/>
                <a:gd name="T112" fmla="*/ 515 w 879"/>
                <a:gd name="T113" fmla="*/ 0 h 20"/>
                <a:gd name="T114" fmla="*/ 439 w 879"/>
                <a:gd name="T11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9" h="20">
                  <a:moveTo>
                    <a:pt x="439" y="0"/>
                  </a:moveTo>
                  <a:cubicBezTo>
                    <a:pt x="439" y="0"/>
                    <a:pt x="467" y="0"/>
                    <a:pt x="515" y="0"/>
                  </a:cubicBezTo>
                  <a:cubicBezTo>
                    <a:pt x="563" y="0"/>
                    <a:pt x="631" y="0"/>
                    <a:pt x="714" y="1"/>
                  </a:cubicBezTo>
                  <a:cubicBezTo>
                    <a:pt x="755" y="2"/>
                    <a:pt x="799" y="2"/>
                    <a:pt x="847" y="4"/>
                  </a:cubicBezTo>
                  <a:cubicBezTo>
                    <a:pt x="852" y="5"/>
                    <a:pt x="858" y="5"/>
                    <a:pt x="864" y="5"/>
                  </a:cubicBezTo>
                  <a:cubicBezTo>
                    <a:pt x="867" y="6"/>
                    <a:pt x="870" y="6"/>
                    <a:pt x="873" y="6"/>
                  </a:cubicBezTo>
                  <a:cubicBezTo>
                    <a:pt x="874" y="6"/>
                    <a:pt x="875" y="7"/>
                    <a:pt x="876" y="7"/>
                  </a:cubicBezTo>
                  <a:cubicBezTo>
                    <a:pt x="876" y="7"/>
                    <a:pt x="877" y="7"/>
                    <a:pt x="878" y="8"/>
                  </a:cubicBezTo>
                  <a:cubicBezTo>
                    <a:pt x="878" y="7"/>
                    <a:pt x="879" y="9"/>
                    <a:pt x="879" y="9"/>
                  </a:cubicBezTo>
                  <a:cubicBezTo>
                    <a:pt x="879" y="10"/>
                    <a:pt x="878" y="10"/>
                    <a:pt x="878" y="10"/>
                  </a:cubicBezTo>
                  <a:cubicBezTo>
                    <a:pt x="877" y="10"/>
                    <a:pt x="877" y="10"/>
                    <a:pt x="876" y="11"/>
                  </a:cubicBezTo>
                  <a:cubicBezTo>
                    <a:pt x="876" y="11"/>
                    <a:pt x="875" y="11"/>
                    <a:pt x="874" y="11"/>
                  </a:cubicBezTo>
                  <a:cubicBezTo>
                    <a:pt x="862" y="13"/>
                    <a:pt x="850" y="13"/>
                    <a:pt x="837" y="14"/>
                  </a:cubicBezTo>
                  <a:cubicBezTo>
                    <a:pt x="813" y="15"/>
                    <a:pt x="787" y="15"/>
                    <a:pt x="762" y="16"/>
                  </a:cubicBezTo>
                  <a:cubicBezTo>
                    <a:pt x="659" y="18"/>
                    <a:pt x="549" y="19"/>
                    <a:pt x="439" y="20"/>
                  </a:cubicBezTo>
                  <a:cubicBezTo>
                    <a:pt x="330" y="19"/>
                    <a:pt x="220" y="18"/>
                    <a:pt x="117" y="16"/>
                  </a:cubicBezTo>
                  <a:cubicBezTo>
                    <a:pt x="91" y="16"/>
                    <a:pt x="66" y="15"/>
                    <a:pt x="41" y="14"/>
                  </a:cubicBezTo>
                  <a:cubicBezTo>
                    <a:pt x="29" y="13"/>
                    <a:pt x="17" y="13"/>
                    <a:pt x="5" y="11"/>
                  </a:cubicBezTo>
                  <a:cubicBezTo>
                    <a:pt x="4" y="11"/>
                    <a:pt x="3" y="11"/>
                    <a:pt x="2" y="11"/>
                  </a:cubicBezTo>
                  <a:cubicBezTo>
                    <a:pt x="2" y="10"/>
                    <a:pt x="2" y="10"/>
                    <a:pt x="1" y="10"/>
                  </a:cubicBezTo>
                  <a:cubicBezTo>
                    <a:pt x="1" y="10"/>
                    <a:pt x="1" y="10"/>
                    <a:pt x="0" y="9"/>
                  </a:cubicBezTo>
                  <a:cubicBezTo>
                    <a:pt x="0" y="8"/>
                    <a:pt x="0" y="9"/>
                    <a:pt x="1" y="8"/>
                  </a:cubicBezTo>
                  <a:cubicBezTo>
                    <a:pt x="2" y="7"/>
                    <a:pt x="3" y="7"/>
                    <a:pt x="3" y="7"/>
                  </a:cubicBezTo>
                  <a:cubicBezTo>
                    <a:pt x="4" y="7"/>
                    <a:pt x="5" y="6"/>
                    <a:pt x="6" y="6"/>
                  </a:cubicBezTo>
                  <a:cubicBezTo>
                    <a:pt x="9" y="6"/>
                    <a:pt x="12" y="6"/>
                    <a:pt x="15" y="5"/>
                  </a:cubicBezTo>
                  <a:cubicBezTo>
                    <a:pt x="21" y="5"/>
                    <a:pt x="27" y="5"/>
                    <a:pt x="32" y="4"/>
                  </a:cubicBezTo>
                  <a:cubicBezTo>
                    <a:pt x="80" y="2"/>
                    <a:pt x="124" y="2"/>
                    <a:pt x="165" y="1"/>
                  </a:cubicBezTo>
                  <a:cubicBezTo>
                    <a:pt x="248" y="0"/>
                    <a:pt x="316" y="0"/>
                    <a:pt x="364" y="0"/>
                  </a:cubicBezTo>
                  <a:cubicBezTo>
                    <a:pt x="412" y="0"/>
                    <a:pt x="439" y="0"/>
                    <a:pt x="439" y="0"/>
                  </a:cubicBezTo>
                  <a:close/>
                  <a:moveTo>
                    <a:pt x="439" y="0"/>
                  </a:moveTo>
                  <a:cubicBezTo>
                    <a:pt x="439" y="0"/>
                    <a:pt x="412" y="0"/>
                    <a:pt x="364" y="0"/>
                  </a:cubicBezTo>
                  <a:cubicBezTo>
                    <a:pt x="316" y="1"/>
                    <a:pt x="248" y="1"/>
                    <a:pt x="165" y="2"/>
                  </a:cubicBezTo>
                  <a:cubicBezTo>
                    <a:pt x="124" y="3"/>
                    <a:pt x="80" y="4"/>
                    <a:pt x="33" y="6"/>
                  </a:cubicBezTo>
                  <a:cubicBezTo>
                    <a:pt x="27" y="6"/>
                    <a:pt x="21" y="7"/>
                    <a:pt x="15" y="7"/>
                  </a:cubicBezTo>
                  <a:cubicBezTo>
                    <a:pt x="12" y="8"/>
                    <a:pt x="9" y="8"/>
                    <a:pt x="6" y="8"/>
                  </a:cubicBezTo>
                  <a:cubicBezTo>
                    <a:pt x="5" y="8"/>
                    <a:pt x="4" y="8"/>
                    <a:pt x="4" y="9"/>
                  </a:cubicBezTo>
                  <a:cubicBezTo>
                    <a:pt x="3" y="9"/>
                    <a:pt x="2" y="9"/>
                    <a:pt x="2" y="9"/>
                  </a:cubicBezTo>
                  <a:cubicBezTo>
                    <a:pt x="2" y="8"/>
                    <a:pt x="2" y="10"/>
                    <a:pt x="2" y="8"/>
                  </a:cubicBezTo>
                  <a:cubicBezTo>
                    <a:pt x="2" y="8"/>
                    <a:pt x="2" y="8"/>
                    <a:pt x="2" y="8"/>
                  </a:cubicBezTo>
                  <a:cubicBezTo>
                    <a:pt x="2" y="8"/>
                    <a:pt x="3" y="9"/>
                    <a:pt x="3" y="9"/>
                  </a:cubicBezTo>
                  <a:cubicBezTo>
                    <a:pt x="4" y="9"/>
                    <a:pt x="4" y="9"/>
                    <a:pt x="5" y="9"/>
                  </a:cubicBezTo>
                  <a:cubicBezTo>
                    <a:pt x="17" y="11"/>
                    <a:pt x="29" y="11"/>
                    <a:pt x="42" y="12"/>
                  </a:cubicBezTo>
                  <a:cubicBezTo>
                    <a:pt x="66" y="13"/>
                    <a:pt x="92" y="13"/>
                    <a:pt x="117" y="14"/>
                  </a:cubicBezTo>
                  <a:cubicBezTo>
                    <a:pt x="220" y="15"/>
                    <a:pt x="330" y="16"/>
                    <a:pt x="439" y="16"/>
                  </a:cubicBezTo>
                  <a:cubicBezTo>
                    <a:pt x="549" y="15"/>
                    <a:pt x="659" y="15"/>
                    <a:pt x="762" y="13"/>
                  </a:cubicBezTo>
                  <a:cubicBezTo>
                    <a:pt x="787" y="13"/>
                    <a:pt x="813" y="12"/>
                    <a:pt x="837" y="11"/>
                  </a:cubicBezTo>
                  <a:cubicBezTo>
                    <a:pt x="850" y="11"/>
                    <a:pt x="862" y="11"/>
                    <a:pt x="874" y="9"/>
                  </a:cubicBezTo>
                  <a:cubicBezTo>
                    <a:pt x="875" y="9"/>
                    <a:pt x="875" y="9"/>
                    <a:pt x="876" y="9"/>
                  </a:cubicBezTo>
                  <a:cubicBezTo>
                    <a:pt x="876" y="8"/>
                    <a:pt x="877" y="8"/>
                    <a:pt x="877" y="8"/>
                  </a:cubicBezTo>
                  <a:cubicBezTo>
                    <a:pt x="877" y="8"/>
                    <a:pt x="877" y="8"/>
                    <a:pt x="877" y="9"/>
                  </a:cubicBezTo>
                  <a:cubicBezTo>
                    <a:pt x="877" y="8"/>
                    <a:pt x="877" y="10"/>
                    <a:pt x="877" y="9"/>
                  </a:cubicBezTo>
                  <a:cubicBezTo>
                    <a:pt x="877" y="9"/>
                    <a:pt x="876" y="9"/>
                    <a:pt x="875" y="9"/>
                  </a:cubicBezTo>
                  <a:cubicBezTo>
                    <a:pt x="875" y="9"/>
                    <a:pt x="874" y="8"/>
                    <a:pt x="873" y="8"/>
                  </a:cubicBezTo>
                  <a:cubicBezTo>
                    <a:pt x="870" y="8"/>
                    <a:pt x="867" y="8"/>
                    <a:pt x="864" y="7"/>
                  </a:cubicBezTo>
                  <a:cubicBezTo>
                    <a:pt x="858" y="7"/>
                    <a:pt x="852" y="7"/>
                    <a:pt x="846" y="6"/>
                  </a:cubicBezTo>
                  <a:cubicBezTo>
                    <a:pt x="799" y="4"/>
                    <a:pt x="755" y="3"/>
                    <a:pt x="714" y="3"/>
                  </a:cubicBezTo>
                  <a:cubicBezTo>
                    <a:pt x="631" y="1"/>
                    <a:pt x="563" y="1"/>
                    <a:pt x="515" y="0"/>
                  </a:cubicBezTo>
                  <a:cubicBezTo>
                    <a:pt x="467" y="0"/>
                    <a:pt x="439" y="0"/>
                    <a:pt x="439"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79" name="Freeform 12">
              <a:extLst>
                <a:ext uri="{FF2B5EF4-FFF2-40B4-BE49-F238E27FC236}">
                  <a16:creationId xmlns:a16="http://schemas.microsoft.com/office/drawing/2014/main" id="{F9A56858-961D-124C-8EB7-51DC9308A920}"/>
                </a:ext>
              </a:extLst>
            </p:cNvPr>
            <p:cNvSpPr>
              <a:spLocks noEditPoints="1"/>
            </p:cNvSpPr>
            <p:nvPr/>
          </p:nvSpPr>
          <p:spPr bwMode="auto">
            <a:xfrm>
              <a:off x="10425610" y="3277262"/>
              <a:ext cx="3532780" cy="396854"/>
            </a:xfrm>
            <a:custGeom>
              <a:avLst/>
              <a:gdLst>
                <a:gd name="T0" fmla="*/ 450 w 901"/>
                <a:gd name="T1" fmla="*/ 0 h 101"/>
                <a:gd name="T2" fmla="*/ 529 w 901"/>
                <a:gd name="T3" fmla="*/ 1 h 101"/>
                <a:gd name="T4" fmla="*/ 620 w 901"/>
                <a:gd name="T5" fmla="*/ 4 h 101"/>
                <a:gd name="T6" fmla="*/ 737 w 901"/>
                <a:gd name="T7" fmla="*/ 11 h 101"/>
                <a:gd name="T8" fmla="*/ 804 w 901"/>
                <a:gd name="T9" fmla="*/ 18 h 101"/>
                <a:gd name="T10" fmla="*/ 874 w 901"/>
                <a:gd name="T11" fmla="*/ 31 h 101"/>
                <a:gd name="T12" fmla="*/ 892 w 901"/>
                <a:gd name="T13" fmla="*/ 38 h 101"/>
                <a:gd name="T14" fmla="*/ 899 w 901"/>
                <a:gd name="T15" fmla="*/ 44 h 101"/>
                <a:gd name="T16" fmla="*/ 901 w 901"/>
                <a:gd name="T17" fmla="*/ 49 h 101"/>
                <a:gd name="T18" fmla="*/ 901 w 901"/>
                <a:gd name="T19" fmla="*/ 52 h 101"/>
                <a:gd name="T20" fmla="*/ 900 w 901"/>
                <a:gd name="T21" fmla="*/ 54 h 101"/>
                <a:gd name="T22" fmla="*/ 892 w 901"/>
                <a:gd name="T23" fmla="*/ 61 h 101"/>
                <a:gd name="T24" fmla="*/ 883 w 901"/>
                <a:gd name="T25" fmla="*/ 65 h 101"/>
                <a:gd name="T26" fmla="*/ 865 w 901"/>
                <a:gd name="T27" fmla="*/ 71 h 101"/>
                <a:gd name="T28" fmla="*/ 787 w 901"/>
                <a:gd name="T29" fmla="*/ 84 h 101"/>
                <a:gd name="T30" fmla="*/ 621 w 901"/>
                <a:gd name="T31" fmla="*/ 96 h 101"/>
                <a:gd name="T32" fmla="*/ 450 w 901"/>
                <a:gd name="T33" fmla="*/ 101 h 101"/>
                <a:gd name="T34" fmla="*/ 279 w 901"/>
                <a:gd name="T35" fmla="*/ 97 h 101"/>
                <a:gd name="T36" fmla="*/ 113 w 901"/>
                <a:gd name="T37" fmla="*/ 85 h 101"/>
                <a:gd name="T38" fmla="*/ 35 w 901"/>
                <a:gd name="T39" fmla="*/ 71 h 101"/>
                <a:gd name="T40" fmla="*/ 17 w 901"/>
                <a:gd name="T41" fmla="*/ 65 h 101"/>
                <a:gd name="T42" fmla="*/ 1 w 901"/>
                <a:gd name="T43" fmla="*/ 54 h 101"/>
                <a:gd name="T44" fmla="*/ 0 w 901"/>
                <a:gd name="T45" fmla="*/ 49 h 101"/>
                <a:gd name="T46" fmla="*/ 2 w 901"/>
                <a:gd name="T47" fmla="*/ 44 h 101"/>
                <a:gd name="T48" fmla="*/ 9 w 901"/>
                <a:gd name="T49" fmla="*/ 38 h 101"/>
                <a:gd name="T50" fmla="*/ 27 w 901"/>
                <a:gd name="T51" fmla="*/ 30 h 101"/>
                <a:gd name="T52" fmla="*/ 62 w 901"/>
                <a:gd name="T53" fmla="*/ 22 h 101"/>
                <a:gd name="T54" fmla="*/ 97 w 901"/>
                <a:gd name="T55" fmla="*/ 17 h 101"/>
                <a:gd name="T56" fmla="*/ 164 w 901"/>
                <a:gd name="T57" fmla="*/ 10 h 101"/>
                <a:gd name="T58" fmla="*/ 281 w 901"/>
                <a:gd name="T59" fmla="*/ 4 h 101"/>
                <a:gd name="T60" fmla="*/ 372 w 901"/>
                <a:gd name="T61" fmla="*/ 1 h 101"/>
                <a:gd name="T62" fmla="*/ 450 w 901"/>
                <a:gd name="T63" fmla="*/ 0 h 101"/>
                <a:gd name="T64" fmla="*/ 450 w 901"/>
                <a:gd name="T65" fmla="*/ 0 h 101"/>
                <a:gd name="T66" fmla="*/ 372 w 901"/>
                <a:gd name="T67" fmla="*/ 1 h 101"/>
                <a:gd name="T68" fmla="*/ 281 w 901"/>
                <a:gd name="T69" fmla="*/ 4 h 101"/>
                <a:gd name="T70" fmla="*/ 164 w 901"/>
                <a:gd name="T71" fmla="*/ 11 h 101"/>
                <a:gd name="T72" fmla="*/ 97 w 901"/>
                <a:gd name="T73" fmla="*/ 18 h 101"/>
                <a:gd name="T74" fmla="*/ 27 w 901"/>
                <a:gd name="T75" fmla="*/ 32 h 101"/>
                <a:gd name="T76" fmla="*/ 10 w 901"/>
                <a:gd name="T77" fmla="*/ 39 h 101"/>
                <a:gd name="T78" fmla="*/ 4 w 901"/>
                <a:gd name="T79" fmla="*/ 45 h 101"/>
                <a:gd name="T80" fmla="*/ 2 w 901"/>
                <a:gd name="T81" fmla="*/ 49 h 101"/>
                <a:gd name="T82" fmla="*/ 3 w 901"/>
                <a:gd name="T83" fmla="*/ 53 h 101"/>
                <a:gd name="T84" fmla="*/ 18 w 901"/>
                <a:gd name="T85" fmla="*/ 63 h 101"/>
                <a:gd name="T86" fmla="*/ 36 w 901"/>
                <a:gd name="T87" fmla="*/ 69 h 101"/>
                <a:gd name="T88" fmla="*/ 114 w 901"/>
                <a:gd name="T89" fmla="*/ 82 h 101"/>
                <a:gd name="T90" fmla="*/ 279 w 901"/>
                <a:gd name="T91" fmla="*/ 93 h 101"/>
                <a:gd name="T92" fmla="*/ 450 w 901"/>
                <a:gd name="T93" fmla="*/ 97 h 101"/>
                <a:gd name="T94" fmla="*/ 621 w 901"/>
                <a:gd name="T95" fmla="*/ 93 h 101"/>
                <a:gd name="T96" fmla="*/ 786 w 901"/>
                <a:gd name="T97" fmla="*/ 81 h 101"/>
                <a:gd name="T98" fmla="*/ 864 w 901"/>
                <a:gd name="T99" fmla="*/ 69 h 101"/>
                <a:gd name="T100" fmla="*/ 883 w 901"/>
                <a:gd name="T101" fmla="*/ 63 h 101"/>
                <a:gd name="T102" fmla="*/ 898 w 901"/>
                <a:gd name="T103" fmla="*/ 53 h 101"/>
                <a:gd name="T104" fmla="*/ 899 w 901"/>
                <a:gd name="T105" fmla="*/ 52 h 101"/>
                <a:gd name="T106" fmla="*/ 899 w 901"/>
                <a:gd name="T107" fmla="*/ 49 h 101"/>
                <a:gd name="T108" fmla="*/ 898 w 901"/>
                <a:gd name="T109" fmla="*/ 46 h 101"/>
                <a:gd name="T110" fmla="*/ 891 w 901"/>
                <a:gd name="T111" fmla="*/ 40 h 101"/>
                <a:gd name="T112" fmla="*/ 874 w 901"/>
                <a:gd name="T113" fmla="*/ 33 h 101"/>
                <a:gd name="T114" fmla="*/ 804 w 901"/>
                <a:gd name="T115" fmla="*/ 19 h 101"/>
                <a:gd name="T116" fmla="*/ 737 w 901"/>
                <a:gd name="T117" fmla="*/ 12 h 101"/>
                <a:gd name="T118" fmla="*/ 620 w 901"/>
                <a:gd name="T119" fmla="*/ 5 h 101"/>
                <a:gd name="T120" fmla="*/ 529 w 901"/>
                <a:gd name="T121" fmla="*/ 2 h 101"/>
                <a:gd name="T122" fmla="*/ 450 w 901"/>
                <a:gd name="T1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1" h="101">
                  <a:moveTo>
                    <a:pt x="450" y="0"/>
                  </a:moveTo>
                  <a:cubicBezTo>
                    <a:pt x="450" y="0"/>
                    <a:pt x="479" y="0"/>
                    <a:pt x="529" y="1"/>
                  </a:cubicBezTo>
                  <a:cubicBezTo>
                    <a:pt x="554" y="2"/>
                    <a:pt x="585" y="3"/>
                    <a:pt x="620" y="4"/>
                  </a:cubicBezTo>
                  <a:cubicBezTo>
                    <a:pt x="655" y="6"/>
                    <a:pt x="694" y="8"/>
                    <a:pt x="737" y="11"/>
                  </a:cubicBezTo>
                  <a:cubicBezTo>
                    <a:pt x="758" y="13"/>
                    <a:pt x="781" y="15"/>
                    <a:pt x="804" y="18"/>
                  </a:cubicBezTo>
                  <a:cubicBezTo>
                    <a:pt x="827" y="21"/>
                    <a:pt x="851" y="24"/>
                    <a:pt x="874" y="31"/>
                  </a:cubicBezTo>
                  <a:cubicBezTo>
                    <a:pt x="880" y="33"/>
                    <a:pt x="886" y="35"/>
                    <a:pt x="892" y="38"/>
                  </a:cubicBezTo>
                  <a:cubicBezTo>
                    <a:pt x="895" y="40"/>
                    <a:pt x="897" y="42"/>
                    <a:pt x="899" y="44"/>
                  </a:cubicBezTo>
                  <a:cubicBezTo>
                    <a:pt x="900" y="46"/>
                    <a:pt x="901" y="47"/>
                    <a:pt x="901" y="49"/>
                  </a:cubicBezTo>
                  <a:cubicBezTo>
                    <a:pt x="901" y="50"/>
                    <a:pt x="901" y="51"/>
                    <a:pt x="901" y="52"/>
                  </a:cubicBezTo>
                  <a:cubicBezTo>
                    <a:pt x="900" y="53"/>
                    <a:pt x="900" y="54"/>
                    <a:pt x="900" y="54"/>
                  </a:cubicBezTo>
                  <a:cubicBezTo>
                    <a:pt x="898" y="57"/>
                    <a:pt x="895" y="59"/>
                    <a:pt x="892" y="61"/>
                  </a:cubicBezTo>
                  <a:cubicBezTo>
                    <a:pt x="889" y="62"/>
                    <a:pt x="886" y="64"/>
                    <a:pt x="883" y="65"/>
                  </a:cubicBezTo>
                  <a:cubicBezTo>
                    <a:pt x="877" y="67"/>
                    <a:pt x="871" y="69"/>
                    <a:pt x="865" y="71"/>
                  </a:cubicBezTo>
                  <a:cubicBezTo>
                    <a:pt x="840" y="77"/>
                    <a:pt x="813" y="81"/>
                    <a:pt x="787" y="84"/>
                  </a:cubicBezTo>
                  <a:cubicBezTo>
                    <a:pt x="733" y="90"/>
                    <a:pt x="678" y="93"/>
                    <a:pt x="621" y="96"/>
                  </a:cubicBezTo>
                  <a:cubicBezTo>
                    <a:pt x="565" y="99"/>
                    <a:pt x="507" y="100"/>
                    <a:pt x="450" y="101"/>
                  </a:cubicBezTo>
                  <a:cubicBezTo>
                    <a:pt x="393" y="101"/>
                    <a:pt x="335" y="99"/>
                    <a:pt x="279" y="97"/>
                  </a:cubicBezTo>
                  <a:cubicBezTo>
                    <a:pt x="222" y="94"/>
                    <a:pt x="167" y="91"/>
                    <a:pt x="113" y="85"/>
                  </a:cubicBezTo>
                  <a:cubicBezTo>
                    <a:pt x="87" y="81"/>
                    <a:pt x="60" y="78"/>
                    <a:pt x="35" y="71"/>
                  </a:cubicBezTo>
                  <a:cubicBezTo>
                    <a:pt x="29" y="70"/>
                    <a:pt x="23" y="68"/>
                    <a:pt x="17" y="65"/>
                  </a:cubicBezTo>
                  <a:cubicBezTo>
                    <a:pt x="11" y="63"/>
                    <a:pt x="5" y="60"/>
                    <a:pt x="1" y="54"/>
                  </a:cubicBezTo>
                  <a:cubicBezTo>
                    <a:pt x="0" y="52"/>
                    <a:pt x="0" y="51"/>
                    <a:pt x="0" y="49"/>
                  </a:cubicBezTo>
                  <a:cubicBezTo>
                    <a:pt x="0" y="47"/>
                    <a:pt x="1" y="45"/>
                    <a:pt x="2" y="44"/>
                  </a:cubicBezTo>
                  <a:cubicBezTo>
                    <a:pt x="4" y="41"/>
                    <a:pt x="7" y="39"/>
                    <a:pt x="9" y="38"/>
                  </a:cubicBezTo>
                  <a:cubicBezTo>
                    <a:pt x="15" y="34"/>
                    <a:pt x="21" y="32"/>
                    <a:pt x="27" y="30"/>
                  </a:cubicBezTo>
                  <a:cubicBezTo>
                    <a:pt x="38" y="27"/>
                    <a:pt x="50" y="24"/>
                    <a:pt x="62" y="22"/>
                  </a:cubicBezTo>
                  <a:cubicBezTo>
                    <a:pt x="74" y="20"/>
                    <a:pt x="86" y="18"/>
                    <a:pt x="97" y="17"/>
                  </a:cubicBezTo>
                  <a:cubicBezTo>
                    <a:pt x="120" y="14"/>
                    <a:pt x="143" y="12"/>
                    <a:pt x="164" y="10"/>
                  </a:cubicBezTo>
                  <a:cubicBezTo>
                    <a:pt x="207" y="7"/>
                    <a:pt x="246" y="5"/>
                    <a:pt x="281" y="4"/>
                  </a:cubicBezTo>
                  <a:cubicBezTo>
                    <a:pt x="316" y="2"/>
                    <a:pt x="347" y="1"/>
                    <a:pt x="372" y="1"/>
                  </a:cubicBezTo>
                  <a:cubicBezTo>
                    <a:pt x="422" y="0"/>
                    <a:pt x="450" y="0"/>
                    <a:pt x="450" y="0"/>
                  </a:cubicBezTo>
                  <a:close/>
                  <a:moveTo>
                    <a:pt x="450" y="0"/>
                  </a:moveTo>
                  <a:cubicBezTo>
                    <a:pt x="450" y="0"/>
                    <a:pt x="422" y="0"/>
                    <a:pt x="372" y="1"/>
                  </a:cubicBezTo>
                  <a:cubicBezTo>
                    <a:pt x="347" y="2"/>
                    <a:pt x="316" y="3"/>
                    <a:pt x="281" y="4"/>
                  </a:cubicBezTo>
                  <a:cubicBezTo>
                    <a:pt x="246" y="6"/>
                    <a:pt x="207" y="8"/>
                    <a:pt x="164" y="11"/>
                  </a:cubicBezTo>
                  <a:cubicBezTo>
                    <a:pt x="143" y="13"/>
                    <a:pt x="120" y="15"/>
                    <a:pt x="97" y="18"/>
                  </a:cubicBezTo>
                  <a:cubicBezTo>
                    <a:pt x="74" y="22"/>
                    <a:pt x="51" y="25"/>
                    <a:pt x="27" y="32"/>
                  </a:cubicBezTo>
                  <a:cubicBezTo>
                    <a:pt x="21" y="34"/>
                    <a:pt x="16" y="36"/>
                    <a:pt x="10" y="39"/>
                  </a:cubicBezTo>
                  <a:cubicBezTo>
                    <a:pt x="8" y="41"/>
                    <a:pt x="5" y="43"/>
                    <a:pt x="4" y="45"/>
                  </a:cubicBezTo>
                  <a:cubicBezTo>
                    <a:pt x="3" y="46"/>
                    <a:pt x="2" y="47"/>
                    <a:pt x="2" y="49"/>
                  </a:cubicBezTo>
                  <a:cubicBezTo>
                    <a:pt x="2" y="50"/>
                    <a:pt x="2" y="52"/>
                    <a:pt x="3" y="53"/>
                  </a:cubicBezTo>
                  <a:cubicBezTo>
                    <a:pt x="6" y="58"/>
                    <a:pt x="12" y="61"/>
                    <a:pt x="18" y="63"/>
                  </a:cubicBezTo>
                  <a:cubicBezTo>
                    <a:pt x="24" y="66"/>
                    <a:pt x="30" y="68"/>
                    <a:pt x="36" y="69"/>
                  </a:cubicBezTo>
                  <a:cubicBezTo>
                    <a:pt x="61" y="76"/>
                    <a:pt x="87" y="79"/>
                    <a:pt x="114" y="82"/>
                  </a:cubicBezTo>
                  <a:cubicBezTo>
                    <a:pt x="167" y="88"/>
                    <a:pt x="223" y="91"/>
                    <a:pt x="279" y="93"/>
                  </a:cubicBezTo>
                  <a:cubicBezTo>
                    <a:pt x="335" y="96"/>
                    <a:pt x="393" y="97"/>
                    <a:pt x="450" y="97"/>
                  </a:cubicBezTo>
                  <a:cubicBezTo>
                    <a:pt x="507" y="97"/>
                    <a:pt x="565" y="95"/>
                    <a:pt x="621" y="93"/>
                  </a:cubicBezTo>
                  <a:cubicBezTo>
                    <a:pt x="677" y="90"/>
                    <a:pt x="733" y="87"/>
                    <a:pt x="786" y="81"/>
                  </a:cubicBezTo>
                  <a:cubicBezTo>
                    <a:pt x="813" y="78"/>
                    <a:pt x="839" y="75"/>
                    <a:pt x="864" y="69"/>
                  </a:cubicBezTo>
                  <a:cubicBezTo>
                    <a:pt x="870" y="67"/>
                    <a:pt x="877" y="65"/>
                    <a:pt x="883" y="63"/>
                  </a:cubicBezTo>
                  <a:cubicBezTo>
                    <a:pt x="888" y="61"/>
                    <a:pt x="894" y="58"/>
                    <a:pt x="898" y="53"/>
                  </a:cubicBezTo>
                  <a:cubicBezTo>
                    <a:pt x="899" y="52"/>
                    <a:pt x="899" y="52"/>
                    <a:pt x="899" y="52"/>
                  </a:cubicBezTo>
                  <a:cubicBezTo>
                    <a:pt x="899" y="51"/>
                    <a:pt x="899" y="50"/>
                    <a:pt x="899" y="49"/>
                  </a:cubicBezTo>
                  <a:cubicBezTo>
                    <a:pt x="899" y="48"/>
                    <a:pt x="898" y="47"/>
                    <a:pt x="898" y="46"/>
                  </a:cubicBezTo>
                  <a:cubicBezTo>
                    <a:pt x="896" y="43"/>
                    <a:pt x="893" y="41"/>
                    <a:pt x="891" y="40"/>
                  </a:cubicBezTo>
                  <a:cubicBezTo>
                    <a:pt x="885" y="37"/>
                    <a:pt x="880" y="35"/>
                    <a:pt x="874" y="33"/>
                  </a:cubicBezTo>
                  <a:cubicBezTo>
                    <a:pt x="850" y="26"/>
                    <a:pt x="826" y="22"/>
                    <a:pt x="804" y="19"/>
                  </a:cubicBezTo>
                  <a:cubicBezTo>
                    <a:pt x="781" y="16"/>
                    <a:pt x="758" y="14"/>
                    <a:pt x="737" y="12"/>
                  </a:cubicBezTo>
                  <a:cubicBezTo>
                    <a:pt x="694" y="9"/>
                    <a:pt x="655" y="7"/>
                    <a:pt x="620" y="5"/>
                  </a:cubicBezTo>
                  <a:cubicBezTo>
                    <a:pt x="585" y="3"/>
                    <a:pt x="554" y="2"/>
                    <a:pt x="529" y="2"/>
                  </a:cubicBezTo>
                  <a:cubicBezTo>
                    <a:pt x="479" y="0"/>
                    <a:pt x="450" y="0"/>
                    <a:pt x="450"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0" name="Freeform 13">
              <a:extLst>
                <a:ext uri="{FF2B5EF4-FFF2-40B4-BE49-F238E27FC236}">
                  <a16:creationId xmlns:a16="http://schemas.microsoft.com/office/drawing/2014/main" id="{8F238CA9-8D94-4A43-B019-781F5FCEB896}"/>
                </a:ext>
              </a:extLst>
            </p:cNvPr>
            <p:cNvSpPr>
              <a:spLocks noEditPoints="1"/>
            </p:cNvSpPr>
            <p:nvPr/>
          </p:nvSpPr>
          <p:spPr bwMode="auto">
            <a:xfrm>
              <a:off x="10526769" y="3438727"/>
              <a:ext cx="3326571" cy="764528"/>
            </a:xfrm>
            <a:custGeom>
              <a:avLst/>
              <a:gdLst>
                <a:gd name="T0" fmla="*/ 502 w 848"/>
                <a:gd name="T1" fmla="*/ 3 h 195"/>
                <a:gd name="T2" fmla="*/ 705 w 848"/>
                <a:gd name="T3" fmla="*/ 24 h 195"/>
                <a:gd name="T4" fmla="*/ 802 w 848"/>
                <a:gd name="T5" fmla="*/ 50 h 195"/>
                <a:gd name="T6" fmla="*/ 845 w 848"/>
                <a:gd name="T7" fmla="*/ 83 h 195"/>
                <a:gd name="T8" fmla="*/ 848 w 848"/>
                <a:gd name="T9" fmla="*/ 96 h 195"/>
                <a:gd name="T10" fmla="*/ 839 w 848"/>
                <a:gd name="T11" fmla="*/ 118 h 195"/>
                <a:gd name="T12" fmla="*/ 790 w 848"/>
                <a:gd name="T13" fmla="*/ 147 h 195"/>
                <a:gd name="T14" fmla="*/ 673 w 848"/>
                <a:gd name="T15" fmla="*/ 174 h 195"/>
                <a:gd name="T16" fmla="*/ 423 w 848"/>
                <a:gd name="T17" fmla="*/ 195 h 195"/>
                <a:gd name="T18" fmla="*/ 94 w 848"/>
                <a:gd name="T19" fmla="*/ 160 h 195"/>
                <a:gd name="T20" fmla="*/ 22 w 848"/>
                <a:gd name="T21" fmla="*/ 131 h 195"/>
                <a:gd name="T22" fmla="*/ 1 w 848"/>
                <a:gd name="T23" fmla="*/ 100 h 195"/>
                <a:gd name="T24" fmla="*/ 1 w 848"/>
                <a:gd name="T25" fmla="*/ 90 h 195"/>
                <a:gd name="T26" fmla="*/ 4 w 848"/>
                <a:gd name="T27" fmla="*/ 81 h 195"/>
                <a:gd name="T28" fmla="*/ 47 w 848"/>
                <a:gd name="T29" fmla="*/ 49 h 195"/>
                <a:gd name="T30" fmla="*/ 144 w 848"/>
                <a:gd name="T31" fmla="*/ 22 h 195"/>
                <a:gd name="T32" fmla="*/ 347 w 848"/>
                <a:gd name="T33" fmla="*/ 2 h 195"/>
                <a:gd name="T34" fmla="*/ 424 w 848"/>
                <a:gd name="T35" fmla="*/ 0 h 195"/>
                <a:gd name="T36" fmla="*/ 258 w 848"/>
                <a:gd name="T37" fmla="*/ 8 h 195"/>
                <a:gd name="T38" fmla="*/ 80 w 848"/>
                <a:gd name="T39" fmla="*/ 38 h 195"/>
                <a:gd name="T40" fmla="*/ 17 w 848"/>
                <a:gd name="T41" fmla="*/ 68 h 195"/>
                <a:gd name="T42" fmla="*/ 4 w 848"/>
                <a:gd name="T43" fmla="*/ 86 h 195"/>
                <a:gd name="T44" fmla="*/ 3 w 848"/>
                <a:gd name="T45" fmla="*/ 95 h 195"/>
                <a:gd name="T46" fmla="*/ 10 w 848"/>
                <a:gd name="T47" fmla="*/ 116 h 195"/>
                <a:gd name="T48" fmla="*/ 58 w 848"/>
                <a:gd name="T49" fmla="*/ 146 h 195"/>
                <a:gd name="T50" fmla="*/ 256 w 848"/>
                <a:gd name="T51" fmla="*/ 182 h 195"/>
                <a:gd name="T52" fmla="*/ 591 w 848"/>
                <a:gd name="T53" fmla="*/ 181 h 195"/>
                <a:gd name="T54" fmla="*/ 752 w 848"/>
                <a:gd name="T55" fmla="*/ 156 h 195"/>
                <a:gd name="T56" fmla="*/ 824 w 848"/>
                <a:gd name="T57" fmla="*/ 129 h 195"/>
                <a:gd name="T58" fmla="*/ 846 w 848"/>
                <a:gd name="T59" fmla="*/ 101 h 195"/>
                <a:gd name="T60" fmla="*/ 846 w 848"/>
                <a:gd name="T61" fmla="*/ 92 h 195"/>
                <a:gd name="T62" fmla="*/ 832 w 848"/>
                <a:gd name="T63" fmla="*/ 70 h 195"/>
                <a:gd name="T64" fmla="*/ 769 w 848"/>
                <a:gd name="T65" fmla="*/ 40 h 195"/>
                <a:gd name="T66" fmla="*/ 591 w 848"/>
                <a:gd name="T67" fmla="*/ 10 h 195"/>
                <a:gd name="T68" fmla="*/ 424 w 848"/>
                <a:gd name="T6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8" h="195">
                  <a:moveTo>
                    <a:pt x="424" y="0"/>
                  </a:moveTo>
                  <a:cubicBezTo>
                    <a:pt x="424" y="0"/>
                    <a:pt x="453" y="0"/>
                    <a:pt x="502" y="3"/>
                  </a:cubicBezTo>
                  <a:cubicBezTo>
                    <a:pt x="527" y="4"/>
                    <a:pt x="556" y="6"/>
                    <a:pt x="591" y="9"/>
                  </a:cubicBezTo>
                  <a:cubicBezTo>
                    <a:pt x="625" y="12"/>
                    <a:pt x="663" y="17"/>
                    <a:pt x="705" y="24"/>
                  </a:cubicBezTo>
                  <a:cubicBezTo>
                    <a:pt x="726" y="28"/>
                    <a:pt x="747" y="32"/>
                    <a:pt x="769" y="39"/>
                  </a:cubicBezTo>
                  <a:cubicBezTo>
                    <a:pt x="780" y="42"/>
                    <a:pt x="791" y="46"/>
                    <a:pt x="802" y="50"/>
                  </a:cubicBezTo>
                  <a:cubicBezTo>
                    <a:pt x="813" y="55"/>
                    <a:pt x="824" y="60"/>
                    <a:pt x="833" y="68"/>
                  </a:cubicBezTo>
                  <a:cubicBezTo>
                    <a:pt x="838" y="72"/>
                    <a:pt x="842" y="77"/>
                    <a:pt x="845" y="83"/>
                  </a:cubicBezTo>
                  <a:cubicBezTo>
                    <a:pt x="847" y="85"/>
                    <a:pt x="847" y="88"/>
                    <a:pt x="848" y="92"/>
                  </a:cubicBezTo>
                  <a:cubicBezTo>
                    <a:pt x="848" y="93"/>
                    <a:pt x="848" y="95"/>
                    <a:pt x="848" y="96"/>
                  </a:cubicBezTo>
                  <a:cubicBezTo>
                    <a:pt x="848" y="98"/>
                    <a:pt x="848" y="99"/>
                    <a:pt x="848" y="101"/>
                  </a:cubicBezTo>
                  <a:cubicBezTo>
                    <a:pt x="847" y="108"/>
                    <a:pt x="844" y="113"/>
                    <a:pt x="839" y="118"/>
                  </a:cubicBezTo>
                  <a:cubicBezTo>
                    <a:pt x="835" y="123"/>
                    <a:pt x="830" y="127"/>
                    <a:pt x="825" y="131"/>
                  </a:cubicBezTo>
                  <a:cubicBezTo>
                    <a:pt x="814" y="138"/>
                    <a:pt x="802" y="143"/>
                    <a:pt x="790" y="147"/>
                  </a:cubicBezTo>
                  <a:cubicBezTo>
                    <a:pt x="778" y="152"/>
                    <a:pt x="765" y="156"/>
                    <a:pt x="752" y="159"/>
                  </a:cubicBezTo>
                  <a:cubicBezTo>
                    <a:pt x="727" y="165"/>
                    <a:pt x="700" y="170"/>
                    <a:pt x="673" y="174"/>
                  </a:cubicBezTo>
                  <a:cubicBezTo>
                    <a:pt x="646" y="179"/>
                    <a:pt x="619" y="182"/>
                    <a:pt x="591" y="184"/>
                  </a:cubicBezTo>
                  <a:cubicBezTo>
                    <a:pt x="536" y="190"/>
                    <a:pt x="480" y="193"/>
                    <a:pt x="423" y="195"/>
                  </a:cubicBezTo>
                  <a:cubicBezTo>
                    <a:pt x="367" y="194"/>
                    <a:pt x="311" y="191"/>
                    <a:pt x="255" y="186"/>
                  </a:cubicBezTo>
                  <a:cubicBezTo>
                    <a:pt x="200" y="180"/>
                    <a:pt x="146" y="173"/>
                    <a:pt x="94" y="160"/>
                  </a:cubicBezTo>
                  <a:cubicBezTo>
                    <a:pt x="82" y="157"/>
                    <a:pt x="69" y="153"/>
                    <a:pt x="57" y="148"/>
                  </a:cubicBezTo>
                  <a:cubicBezTo>
                    <a:pt x="45" y="143"/>
                    <a:pt x="33" y="138"/>
                    <a:pt x="22" y="131"/>
                  </a:cubicBezTo>
                  <a:cubicBezTo>
                    <a:pt x="17" y="127"/>
                    <a:pt x="12" y="123"/>
                    <a:pt x="8" y="117"/>
                  </a:cubicBezTo>
                  <a:cubicBezTo>
                    <a:pt x="4" y="112"/>
                    <a:pt x="1" y="106"/>
                    <a:pt x="1" y="100"/>
                  </a:cubicBezTo>
                  <a:cubicBezTo>
                    <a:pt x="1" y="98"/>
                    <a:pt x="0" y="97"/>
                    <a:pt x="1" y="95"/>
                  </a:cubicBezTo>
                  <a:cubicBezTo>
                    <a:pt x="1" y="94"/>
                    <a:pt x="1" y="92"/>
                    <a:pt x="1" y="90"/>
                  </a:cubicBezTo>
                  <a:cubicBezTo>
                    <a:pt x="1" y="89"/>
                    <a:pt x="2" y="87"/>
                    <a:pt x="2" y="86"/>
                  </a:cubicBezTo>
                  <a:cubicBezTo>
                    <a:pt x="3" y="84"/>
                    <a:pt x="3" y="83"/>
                    <a:pt x="4" y="81"/>
                  </a:cubicBezTo>
                  <a:cubicBezTo>
                    <a:pt x="7" y="76"/>
                    <a:pt x="11" y="71"/>
                    <a:pt x="16" y="67"/>
                  </a:cubicBezTo>
                  <a:cubicBezTo>
                    <a:pt x="25" y="59"/>
                    <a:pt x="36" y="53"/>
                    <a:pt x="47" y="49"/>
                  </a:cubicBezTo>
                  <a:cubicBezTo>
                    <a:pt x="58" y="44"/>
                    <a:pt x="69" y="40"/>
                    <a:pt x="80" y="37"/>
                  </a:cubicBezTo>
                  <a:cubicBezTo>
                    <a:pt x="101" y="30"/>
                    <a:pt x="123" y="26"/>
                    <a:pt x="144" y="22"/>
                  </a:cubicBezTo>
                  <a:cubicBezTo>
                    <a:pt x="186" y="15"/>
                    <a:pt x="224" y="11"/>
                    <a:pt x="258" y="8"/>
                  </a:cubicBezTo>
                  <a:cubicBezTo>
                    <a:pt x="293" y="5"/>
                    <a:pt x="322" y="3"/>
                    <a:pt x="347" y="2"/>
                  </a:cubicBezTo>
                  <a:cubicBezTo>
                    <a:pt x="396" y="0"/>
                    <a:pt x="424" y="0"/>
                    <a:pt x="424" y="0"/>
                  </a:cubicBezTo>
                  <a:close/>
                  <a:moveTo>
                    <a:pt x="424" y="0"/>
                  </a:moveTo>
                  <a:cubicBezTo>
                    <a:pt x="424" y="0"/>
                    <a:pt x="396" y="0"/>
                    <a:pt x="347" y="2"/>
                  </a:cubicBezTo>
                  <a:cubicBezTo>
                    <a:pt x="322" y="4"/>
                    <a:pt x="293" y="5"/>
                    <a:pt x="258" y="8"/>
                  </a:cubicBezTo>
                  <a:cubicBezTo>
                    <a:pt x="224" y="12"/>
                    <a:pt x="186" y="16"/>
                    <a:pt x="144" y="23"/>
                  </a:cubicBezTo>
                  <a:cubicBezTo>
                    <a:pt x="123" y="27"/>
                    <a:pt x="102" y="32"/>
                    <a:pt x="80" y="38"/>
                  </a:cubicBezTo>
                  <a:cubicBezTo>
                    <a:pt x="69" y="42"/>
                    <a:pt x="58" y="46"/>
                    <a:pt x="47" y="50"/>
                  </a:cubicBezTo>
                  <a:cubicBezTo>
                    <a:pt x="37" y="55"/>
                    <a:pt x="26" y="61"/>
                    <a:pt x="17" y="68"/>
                  </a:cubicBezTo>
                  <a:cubicBezTo>
                    <a:pt x="13" y="72"/>
                    <a:pt x="9" y="77"/>
                    <a:pt x="6" y="82"/>
                  </a:cubicBezTo>
                  <a:cubicBezTo>
                    <a:pt x="5" y="84"/>
                    <a:pt x="5" y="85"/>
                    <a:pt x="4" y="86"/>
                  </a:cubicBezTo>
                  <a:cubicBezTo>
                    <a:pt x="4" y="88"/>
                    <a:pt x="3" y="89"/>
                    <a:pt x="3" y="91"/>
                  </a:cubicBezTo>
                  <a:cubicBezTo>
                    <a:pt x="3" y="92"/>
                    <a:pt x="3" y="94"/>
                    <a:pt x="3" y="95"/>
                  </a:cubicBezTo>
                  <a:cubicBezTo>
                    <a:pt x="2" y="97"/>
                    <a:pt x="3" y="98"/>
                    <a:pt x="3" y="100"/>
                  </a:cubicBezTo>
                  <a:cubicBezTo>
                    <a:pt x="3" y="106"/>
                    <a:pt x="6" y="111"/>
                    <a:pt x="10" y="116"/>
                  </a:cubicBezTo>
                  <a:cubicBezTo>
                    <a:pt x="14" y="121"/>
                    <a:pt x="18" y="125"/>
                    <a:pt x="24" y="129"/>
                  </a:cubicBezTo>
                  <a:cubicBezTo>
                    <a:pt x="34" y="136"/>
                    <a:pt x="46" y="141"/>
                    <a:pt x="58" y="146"/>
                  </a:cubicBezTo>
                  <a:cubicBezTo>
                    <a:pt x="70" y="151"/>
                    <a:pt x="82" y="154"/>
                    <a:pt x="95" y="158"/>
                  </a:cubicBezTo>
                  <a:cubicBezTo>
                    <a:pt x="146" y="171"/>
                    <a:pt x="200" y="177"/>
                    <a:pt x="256" y="182"/>
                  </a:cubicBezTo>
                  <a:cubicBezTo>
                    <a:pt x="311" y="187"/>
                    <a:pt x="367" y="190"/>
                    <a:pt x="423" y="191"/>
                  </a:cubicBezTo>
                  <a:cubicBezTo>
                    <a:pt x="479" y="190"/>
                    <a:pt x="536" y="186"/>
                    <a:pt x="591" y="181"/>
                  </a:cubicBezTo>
                  <a:cubicBezTo>
                    <a:pt x="619" y="179"/>
                    <a:pt x="646" y="176"/>
                    <a:pt x="673" y="172"/>
                  </a:cubicBezTo>
                  <a:cubicBezTo>
                    <a:pt x="700" y="168"/>
                    <a:pt x="726" y="163"/>
                    <a:pt x="752" y="156"/>
                  </a:cubicBezTo>
                  <a:cubicBezTo>
                    <a:pt x="764" y="153"/>
                    <a:pt x="777" y="150"/>
                    <a:pt x="789" y="145"/>
                  </a:cubicBezTo>
                  <a:cubicBezTo>
                    <a:pt x="801" y="141"/>
                    <a:pt x="813" y="136"/>
                    <a:pt x="824" y="129"/>
                  </a:cubicBezTo>
                  <a:cubicBezTo>
                    <a:pt x="829" y="125"/>
                    <a:pt x="834" y="121"/>
                    <a:pt x="838" y="117"/>
                  </a:cubicBezTo>
                  <a:cubicBezTo>
                    <a:pt x="842" y="112"/>
                    <a:pt x="845" y="107"/>
                    <a:pt x="846" y="101"/>
                  </a:cubicBezTo>
                  <a:cubicBezTo>
                    <a:pt x="846" y="99"/>
                    <a:pt x="846" y="98"/>
                    <a:pt x="846" y="96"/>
                  </a:cubicBezTo>
                  <a:cubicBezTo>
                    <a:pt x="846" y="95"/>
                    <a:pt x="846" y="93"/>
                    <a:pt x="846" y="92"/>
                  </a:cubicBezTo>
                  <a:cubicBezTo>
                    <a:pt x="846" y="89"/>
                    <a:pt x="845" y="86"/>
                    <a:pt x="843" y="83"/>
                  </a:cubicBezTo>
                  <a:cubicBezTo>
                    <a:pt x="841" y="78"/>
                    <a:pt x="837" y="74"/>
                    <a:pt x="832" y="70"/>
                  </a:cubicBezTo>
                  <a:cubicBezTo>
                    <a:pt x="823" y="62"/>
                    <a:pt x="812" y="57"/>
                    <a:pt x="801" y="52"/>
                  </a:cubicBezTo>
                  <a:cubicBezTo>
                    <a:pt x="791" y="47"/>
                    <a:pt x="780" y="43"/>
                    <a:pt x="769" y="40"/>
                  </a:cubicBezTo>
                  <a:cubicBezTo>
                    <a:pt x="747" y="34"/>
                    <a:pt x="726" y="29"/>
                    <a:pt x="705" y="25"/>
                  </a:cubicBezTo>
                  <a:cubicBezTo>
                    <a:pt x="663" y="18"/>
                    <a:pt x="625" y="13"/>
                    <a:pt x="591" y="10"/>
                  </a:cubicBezTo>
                  <a:cubicBezTo>
                    <a:pt x="556" y="6"/>
                    <a:pt x="527" y="4"/>
                    <a:pt x="502" y="3"/>
                  </a:cubicBezTo>
                  <a:cubicBezTo>
                    <a:pt x="453" y="0"/>
                    <a:pt x="424" y="0"/>
                    <a:pt x="424"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1" name="Freeform 14">
              <a:extLst>
                <a:ext uri="{FF2B5EF4-FFF2-40B4-BE49-F238E27FC236}">
                  <a16:creationId xmlns:a16="http://schemas.microsoft.com/office/drawing/2014/main" id="{C11BCA05-D3FA-E64F-92EB-92BFDA1AB586}"/>
                </a:ext>
              </a:extLst>
            </p:cNvPr>
            <p:cNvSpPr>
              <a:spLocks noEditPoints="1"/>
            </p:cNvSpPr>
            <p:nvPr/>
          </p:nvSpPr>
          <p:spPr bwMode="auto">
            <a:xfrm>
              <a:off x="10727141" y="3631318"/>
              <a:ext cx="2929717" cy="890976"/>
            </a:xfrm>
            <a:custGeom>
              <a:avLst/>
              <a:gdLst>
                <a:gd name="T0" fmla="*/ 392 w 747"/>
                <a:gd name="T1" fmla="*/ 0 h 227"/>
                <a:gd name="T2" fmla="*/ 524 w 747"/>
                <a:gd name="T3" fmla="*/ 11 h 227"/>
                <a:gd name="T4" fmla="*/ 685 w 747"/>
                <a:gd name="T5" fmla="*/ 49 h 227"/>
                <a:gd name="T6" fmla="*/ 737 w 747"/>
                <a:gd name="T7" fmla="*/ 85 h 227"/>
                <a:gd name="T8" fmla="*/ 731 w 747"/>
                <a:gd name="T9" fmla="*/ 148 h 227"/>
                <a:gd name="T10" fmla="*/ 669 w 747"/>
                <a:gd name="T11" fmla="*/ 183 h 227"/>
                <a:gd name="T12" fmla="*/ 525 w 747"/>
                <a:gd name="T13" fmla="*/ 215 h 227"/>
                <a:gd name="T14" fmla="*/ 219 w 747"/>
                <a:gd name="T15" fmla="*/ 216 h 227"/>
                <a:gd name="T16" fmla="*/ 75 w 747"/>
                <a:gd name="T17" fmla="*/ 184 h 227"/>
                <a:gd name="T18" fmla="*/ 27 w 747"/>
                <a:gd name="T19" fmla="*/ 159 h 227"/>
                <a:gd name="T20" fmla="*/ 5 w 747"/>
                <a:gd name="T21" fmla="*/ 132 h 227"/>
                <a:gd name="T22" fmla="*/ 1 w 747"/>
                <a:gd name="T23" fmla="*/ 107 h 227"/>
                <a:gd name="T24" fmla="*/ 3 w 747"/>
                <a:gd name="T25" fmla="*/ 99 h 227"/>
                <a:gd name="T26" fmla="*/ 34 w 747"/>
                <a:gd name="T27" fmla="*/ 61 h 227"/>
                <a:gd name="T28" fmla="*/ 119 w 747"/>
                <a:gd name="T29" fmla="*/ 28 h 227"/>
                <a:gd name="T30" fmla="*/ 303 w 747"/>
                <a:gd name="T31" fmla="*/ 2 h 227"/>
                <a:gd name="T32" fmla="*/ 373 w 747"/>
                <a:gd name="T33" fmla="*/ 0 h 227"/>
                <a:gd name="T34" fmla="*/ 355 w 747"/>
                <a:gd name="T35" fmla="*/ 0 h 227"/>
                <a:gd name="T36" fmla="*/ 223 w 747"/>
                <a:gd name="T37" fmla="*/ 10 h 227"/>
                <a:gd name="T38" fmla="*/ 63 w 747"/>
                <a:gd name="T39" fmla="*/ 48 h 227"/>
                <a:gd name="T40" fmla="*/ 12 w 747"/>
                <a:gd name="T41" fmla="*/ 85 h 227"/>
                <a:gd name="T42" fmla="*/ 7 w 747"/>
                <a:gd name="T43" fmla="*/ 132 h 227"/>
                <a:gd name="T44" fmla="*/ 29 w 747"/>
                <a:gd name="T45" fmla="*/ 157 h 227"/>
                <a:gd name="T46" fmla="*/ 76 w 747"/>
                <a:gd name="T47" fmla="*/ 182 h 227"/>
                <a:gd name="T48" fmla="*/ 220 w 747"/>
                <a:gd name="T49" fmla="*/ 213 h 227"/>
                <a:gd name="T50" fmla="*/ 524 w 747"/>
                <a:gd name="T51" fmla="*/ 212 h 227"/>
                <a:gd name="T52" fmla="*/ 668 w 747"/>
                <a:gd name="T53" fmla="*/ 181 h 227"/>
                <a:gd name="T54" fmla="*/ 729 w 747"/>
                <a:gd name="T55" fmla="*/ 146 h 227"/>
                <a:gd name="T56" fmla="*/ 736 w 747"/>
                <a:gd name="T57" fmla="*/ 86 h 227"/>
                <a:gd name="T58" fmla="*/ 684 w 747"/>
                <a:gd name="T59" fmla="*/ 50 h 227"/>
                <a:gd name="T60" fmla="*/ 524 w 747"/>
                <a:gd name="T61" fmla="*/ 12 h 227"/>
                <a:gd name="T62" fmla="*/ 392 w 747"/>
                <a:gd name="T6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7" h="227">
                  <a:moveTo>
                    <a:pt x="373" y="0"/>
                  </a:moveTo>
                  <a:cubicBezTo>
                    <a:pt x="373" y="0"/>
                    <a:pt x="380" y="0"/>
                    <a:pt x="392" y="0"/>
                  </a:cubicBezTo>
                  <a:cubicBezTo>
                    <a:pt x="404" y="1"/>
                    <a:pt x="421" y="2"/>
                    <a:pt x="444" y="3"/>
                  </a:cubicBezTo>
                  <a:cubicBezTo>
                    <a:pt x="466" y="5"/>
                    <a:pt x="493" y="7"/>
                    <a:pt x="524" y="11"/>
                  </a:cubicBezTo>
                  <a:cubicBezTo>
                    <a:pt x="555" y="15"/>
                    <a:pt x="590" y="21"/>
                    <a:pt x="627" y="30"/>
                  </a:cubicBezTo>
                  <a:cubicBezTo>
                    <a:pt x="646" y="35"/>
                    <a:pt x="665" y="41"/>
                    <a:pt x="685" y="49"/>
                  </a:cubicBezTo>
                  <a:cubicBezTo>
                    <a:pt x="694" y="53"/>
                    <a:pt x="704" y="57"/>
                    <a:pt x="713" y="63"/>
                  </a:cubicBezTo>
                  <a:cubicBezTo>
                    <a:pt x="722" y="69"/>
                    <a:pt x="730" y="76"/>
                    <a:pt x="737" y="85"/>
                  </a:cubicBezTo>
                  <a:cubicBezTo>
                    <a:pt x="744" y="94"/>
                    <a:pt x="747" y="106"/>
                    <a:pt x="746" y="117"/>
                  </a:cubicBezTo>
                  <a:cubicBezTo>
                    <a:pt x="745" y="129"/>
                    <a:pt x="739" y="139"/>
                    <a:pt x="731" y="148"/>
                  </a:cubicBezTo>
                  <a:cubicBezTo>
                    <a:pt x="722" y="156"/>
                    <a:pt x="712" y="163"/>
                    <a:pt x="702" y="168"/>
                  </a:cubicBezTo>
                  <a:cubicBezTo>
                    <a:pt x="692" y="174"/>
                    <a:pt x="681" y="179"/>
                    <a:pt x="669" y="183"/>
                  </a:cubicBezTo>
                  <a:cubicBezTo>
                    <a:pt x="647" y="191"/>
                    <a:pt x="623" y="197"/>
                    <a:pt x="599" y="202"/>
                  </a:cubicBezTo>
                  <a:cubicBezTo>
                    <a:pt x="574" y="208"/>
                    <a:pt x="550" y="212"/>
                    <a:pt x="525" y="215"/>
                  </a:cubicBezTo>
                  <a:cubicBezTo>
                    <a:pt x="474" y="221"/>
                    <a:pt x="423" y="226"/>
                    <a:pt x="372" y="227"/>
                  </a:cubicBezTo>
                  <a:cubicBezTo>
                    <a:pt x="321" y="226"/>
                    <a:pt x="269" y="222"/>
                    <a:pt x="219" y="216"/>
                  </a:cubicBezTo>
                  <a:cubicBezTo>
                    <a:pt x="194" y="213"/>
                    <a:pt x="170" y="209"/>
                    <a:pt x="145" y="204"/>
                  </a:cubicBezTo>
                  <a:cubicBezTo>
                    <a:pt x="121" y="199"/>
                    <a:pt x="97" y="192"/>
                    <a:pt x="75" y="184"/>
                  </a:cubicBezTo>
                  <a:cubicBezTo>
                    <a:pt x="63" y="180"/>
                    <a:pt x="53" y="175"/>
                    <a:pt x="42" y="169"/>
                  </a:cubicBezTo>
                  <a:cubicBezTo>
                    <a:pt x="37" y="166"/>
                    <a:pt x="32" y="163"/>
                    <a:pt x="27" y="159"/>
                  </a:cubicBezTo>
                  <a:cubicBezTo>
                    <a:pt x="23" y="155"/>
                    <a:pt x="18" y="152"/>
                    <a:pt x="15" y="147"/>
                  </a:cubicBezTo>
                  <a:cubicBezTo>
                    <a:pt x="11" y="143"/>
                    <a:pt x="7" y="138"/>
                    <a:pt x="5" y="132"/>
                  </a:cubicBezTo>
                  <a:cubicBezTo>
                    <a:pt x="2" y="127"/>
                    <a:pt x="1" y="121"/>
                    <a:pt x="1" y="116"/>
                  </a:cubicBezTo>
                  <a:cubicBezTo>
                    <a:pt x="0" y="113"/>
                    <a:pt x="1" y="110"/>
                    <a:pt x="1" y="107"/>
                  </a:cubicBezTo>
                  <a:cubicBezTo>
                    <a:pt x="2" y="103"/>
                    <a:pt x="2" y="103"/>
                    <a:pt x="2" y="103"/>
                  </a:cubicBezTo>
                  <a:cubicBezTo>
                    <a:pt x="2" y="101"/>
                    <a:pt x="2" y="100"/>
                    <a:pt x="3" y="99"/>
                  </a:cubicBezTo>
                  <a:cubicBezTo>
                    <a:pt x="4" y="93"/>
                    <a:pt x="7" y="88"/>
                    <a:pt x="10" y="84"/>
                  </a:cubicBezTo>
                  <a:cubicBezTo>
                    <a:pt x="17" y="74"/>
                    <a:pt x="25" y="67"/>
                    <a:pt x="34" y="61"/>
                  </a:cubicBezTo>
                  <a:cubicBezTo>
                    <a:pt x="43" y="55"/>
                    <a:pt x="53" y="51"/>
                    <a:pt x="62" y="47"/>
                  </a:cubicBezTo>
                  <a:cubicBezTo>
                    <a:pt x="81" y="38"/>
                    <a:pt x="101" y="33"/>
                    <a:pt x="119" y="28"/>
                  </a:cubicBezTo>
                  <a:cubicBezTo>
                    <a:pt x="157" y="19"/>
                    <a:pt x="192" y="14"/>
                    <a:pt x="223" y="10"/>
                  </a:cubicBezTo>
                  <a:cubicBezTo>
                    <a:pt x="254" y="6"/>
                    <a:pt x="281" y="4"/>
                    <a:pt x="303" y="2"/>
                  </a:cubicBezTo>
                  <a:cubicBezTo>
                    <a:pt x="325" y="1"/>
                    <a:pt x="343" y="0"/>
                    <a:pt x="355" y="0"/>
                  </a:cubicBezTo>
                  <a:cubicBezTo>
                    <a:pt x="367" y="0"/>
                    <a:pt x="373" y="0"/>
                    <a:pt x="373" y="0"/>
                  </a:cubicBezTo>
                  <a:close/>
                  <a:moveTo>
                    <a:pt x="373" y="0"/>
                  </a:moveTo>
                  <a:cubicBezTo>
                    <a:pt x="373" y="0"/>
                    <a:pt x="367" y="0"/>
                    <a:pt x="355" y="0"/>
                  </a:cubicBezTo>
                  <a:cubicBezTo>
                    <a:pt x="343" y="1"/>
                    <a:pt x="325" y="1"/>
                    <a:pt x="303" y="3"/>
                  </a:cubicBezTo>
                  <a:cubicBezTo>
                    <a:pt x="281" y="4"/>
                    <a:pt x="254" y="7"/>
                    <a:pt x="223" y="10"/>
                  </a:cubicBezTo>
                  <a:cubicBezTo>
                    <a:pt x="192" y="14"/>
                    <a:pt x="157" y="20"/>
                    <a:pt x="120" y="29"/>
                  </a:cubicBezTo>
                  <a:cubicBezTo>
                    <a:pt x="101" y="34"/>
                    <a:pt x="82" y="40"/>
                    <a:pt x="63" y="48"/>
                  </a:cubicBezTo>
                  <a:cubicBezTo>
                    <a:pt x="53" y="52"/>
                    <a:pt x="44" y="57"/>
                    <a:pt x="35" y="63"/>
                  </a:cubicBezTo>
                  <a:cubicBezTo>
                    <a:pt x="26" y="69"/>
                    <a:pt x="18" y="76"/>
                    <a:pt x="12" y="85"/>
                  </a:cubicBezTo>
                  <a:cubicBezTo>
                    <a:pt x="6" y="94"/>
                    <a:pt x="2" y="104"/>
                    <a:pt x="3" y="116"/>
                  </a:cubicBezTo>
                  <a:cubicBezTo>
                    <a:pt x="3" y="121"/>
                    <a:pt x="4" y="126"/>
                    <a:pt x="7" y="132"/>
                  </a:cubicBezTo>
                  <a:cubicBezTo>
                    <a:pt x="9" y="137"/>
                    <a:pt x="12" y="141"/>
                    <a:pt x="16" y="146"/>
                  </a:cubicBezTo>
                  <a:cubicBezTo>
                    <a:pt x="20" y="150"/>
                    <a:pt x="24" y="154"/>
                    <a:pt x="29" y="157"/>
                  </a:cubicBezTo>
                  <a:cubicBezTo>
                    <a:pt x="33" y="161"/>
                    <a:pt x="38" y="164"/>
                    <a:pt x="43" y="167"/>
                  </a:cubicBezTo>
                  <a:cubicBezTo>
                    <a:pt x="54" y="173"/>
                    <a:pt x="64" y="177"/>
                    <a:pt x="76" y="182"/>
                  </a:cubicBezTo>
                  <a:cubicBezTo>
                    <a:pt x="98" y="190"/>
                    <a:pt x="122" y="196"/>
                    <a:pt x="146" y="201"/>
                  </a:cubicBezTo>
                  <a:cubicBezTo>
                    <a:pt x="170" y="206"/>
                    <a:pt x="195" y="210"/>
                    <a:pt x="220" y="213"/>
                  </a:cubicBezTo>
                  <a:cubicBezTo>
                    <a:pt x="270" y="219"/>
                    <a:pt x="321" y="222"/>
                    <a:pt x="372" y="223"/>
                  </a:cubicBezTo>
                  <a:cubicBezTo>
                    <a:pt x="423" y="222"/>
                    <a:pt x="474" y="218"/>
                    <a:pt x="524" y="212"/>
                  </a:cubicBezTo>
                  <a:cubicBezTo>
                    <a:pt x="549" y="208"/>
                    <a:pt x="574" y="205"/>
                    <a:pt x="598" y="200"/>
                  </a:cubicBezTo>
                  <a:cubicBezTo>
                    <a:pt x="622" y="195"/>
                    <a:pt x="646" y="189"/>
                    <a:pt x="668" y="181"/>
                  </a:cubicBezTo>
                  <a:cubicBezTo>
                    <a:pt x="680" y="176"/>
                    <a:pt x="691" y="172"/>
                    <a:pt x="701" y="166"/>
                  </a:cubicBezTo>
                  <a:cubicBezTo>
                    <a:pt x="711" y="161"/>
                    <a:pt x="721" y="154"/>
                    <a:pt x="729" y="146"/>
                  </a:cubicBezTo>
                  <a:cubicBezTo>
                    <a:pt x="737" y="138"/>
                    <a:pt x="743" y="128"/>
                    <a:pt x="744" y="117"/>
                  </a:cubicBezTo>
                  <a:cubicBezTo>
                    <a:pt x="745" y="106"/>
                    <a:pt x="742" y="95"/>
                    <a:pt x="736" y="86"/>
                  </a:cubicBezTo>
                  <a:cubicBezTo>
                    <a:pt x="729" y="77"/>
                    <a:pt x="721" y="70"/>
                    <a:pt x="712" y="65"/>
                  </a:cubicBezTo>
                  <a:cubicBezTo>
                    <a:pt x="703" y="59"/>
                    <a:pt x="693" y="54"/>
                    <a:pt x="684" y="50"/>
                  </a:cubicBezTo>
                  <a:cubicBezTo>
                    <a:pt x="665" y="42"/>
                    <a:pt x="646" y="36"/>
                    <a:pt x="627" y="31"/>
                  </a:cubicBezTo>
                  <a:cubicBezTo>
                    <a:pt x="590" y="22"/>
                    <a:pt x="555" y="16"/>
                    <a:pt x="524" y="12"/>
                  </a:cubicBezTo>
                  <a:cubicBezTo>
                    <a:pt x="493" y="8"/>
                    <a:pt x="466" y="5"/>
                    <a:pt x="444" y="4"/>
                  </a:cubicBezTo>
                  <a:cubicBezTo>
                    <a:pt x="421" y="2"/>
                    <a:pt x="404" y="1"/>
                    <a:pt x="392" y="0"/>
                  </a:cubicBezTo>
                  <a:cubicBezTo>
                    <a:pt x="380" y="0"/>
                    <a:pt x="373" y="0"/>
                    <a:pt x="373"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2" name="Freeform 15">
              <a:extLst>
                <a:ext uri="{FF2B5EF4-FFF2-40B4-BE49-F238E27FC236}">
                  <a16:creationId xmlns:a16="http://schemas.microsoft.com/office/drawing/2014/main" id="{E190EC2A-9F1E-CB4E-B35D-6FE557C7F753}"/>
                </a:ext>
              </a:extLst>
            </p:cNvPr>
            <p:cNvSpPr>
              <a:spLocks noEditPoints="1"/>
            </p:cNvSpPr>
            <p:nvPr/>
          </p:nvSpPr>
          <p:spPr bwMode="auto">
            <a:xfrm>
              <a:off x="10927514" y="3744149"/>
              <a:ext cx="2528972" cy="1015480"/>
            </a:xfrm>
            <a:custGeom>
              <a:avLst/>
              <a:gdLst>
                <a:gd name="T0" fmla="*/ 322 w 645"/>
                <a:gd name="T1" fmla="*/ 0 h 259"/>
                <a:gd name="T2" fmla="*/ 339 w 645"/>
                <a:gd name="T3" fmla="*/ 1 h 259"/>
                <a:gd name="T4" fmla="*/ 386 w 645"/>
                <a:gd name="T5" fmla="*/ 4 h 259"/>
                <a:gd name="T6" fmla="*/ 458 w 645"/>
                <a:gd name="T7" fmla="*/ 14 h 259"/>
                <a:gd name="T8" fmla="*/ 549 w 645"/>
                <a:gd name="T9" fmla="*/ 38 h 259"/>
                <a:gd name="T10" fmla="*/ 598 w 645"/>
                <a:gd name="T11" fmla="*/ 61 h 259"/>
                <a:gd name="T12" fmla="*/ 620 w 645"/>
                <a:gd name="T13" fmla="*/ 79 h 259"/>
                <a:gd name="T14" fmla="*/ 637 w 645"/>
                <a:gd name="T15" fmla="*/ 103 h 259"/>
                <a:gd name="T16" fmla="*/ 633 w 645"/>
                <a:gd name="T17" fmla="*/ 162 h 259"/>
                <a:gd name="T18" fmla="*/ 585 w 645"/>
                <a:gd name="T19" fmla="*/ 204 h 259"/>
                <a:gd name="T20" fmla="*/ 523 w 645"/>
                <a:gd name="T21" fmla="*/ 228 h 259"/>
                <a:gd name="T22" fmla="*/ 458 w 645"/>
                <a:gd name="T23" fmla="*/ 244 h 259"/>
                <a:gd name="T24" fmla="*/ 390 w 645"/>
                <a:gd name="T25" fmla="*/ 253 h 259"/>
                <a:gd name="T26" fmla="*/ 321 w 645"/>
                <a:gd name="T27" fmla="*/ 259 h 259"/>
                <a:gd name="T28" fmla="*/ 184 w 645"/>
                <a:gd name="T29" fmla="*/ 245 h 259"/>
                <a:gd name="T30" fmla="*/ 118 w 645"/>
                <a:gd name="T31" fmla="*/ 229 h 259"/>
                <a:gd name="T32" fmla="*/ 57 w 645"/>
                <a:gd name="T33" fmla="*/ 204 h 259"/>
                <a:gd name="T34" fmla="*/ 30 w 645"/>
                <a:gd name="T35" fmla="*/ 186 h 259"/>
                <a:gd name="T36" fmla="*/ 11 w 645"/>
                <a:gd name="T37" fmla="*/ 161 h 259"/>
                <a:gd name="T38" fmla="*/ 8 w 645"/>
                <a:gd name="T39" fmla="*/ 101 h 259"/>
                <a:gd name="T40" fmla="*/ 47 w 645"/>
                <a:gd name="T41" fmla="*/ 59 h 259"/>
                <a:gd name="T42" fmla="*/ 96 w 645"/>
                <a:gd name="T43" fmla="*/ 35 h 259"/>
                <a:gd name="T44" fmla="*/ 187 w 645"/>
                <a:gd name="T45" fmla="*/ 12 h 259"/>
                <a:gd name="T46" fmla="*/ 259 w 645"/>
                <a:gd name="T47" fmla="*/ 3 h 259"/>
                <a:gd name="T48" fmla="*/ 306 w 645"/>
                <a:gd name="T49" fmla="*/ 0 h 259"/>
                <a:gd name="T50" fmla="*/ 322 w 645"/>
                <a:gd name="T51" fmla="*/ 0 h 259"/>
                <a:gd name="T52" fmla="*/ 322 w 645"/>
                <a:gd name="T53" fmla="*/ 0 h 259"/>
                <a:gd name="T54" fmla="*/ 306 w 645"/>
                <a:gd name="T55" fmla="*/ 0 h 259"/>
                <a:gd name="T56" fmla="*/ 259 w 645"/>
                <a:gd name="T57" fmla="*/ 4 h 259"/>
                <a:gd name="T58" fmla="*/ 187 w 645"/>
                <a:gd name="T59" fmla="*/ 13 h 259"/>
                <a:gd name="T60" fmla="*/ 96 w 645"/>
                <a:gd name="T61" fmla="*/ 36 h 259"/>
                <a:gd name="T62" fmla="*/ 48 w 645"/>
                <a:gd name="T63" fmla="*/ 60 h 259"/>
                <a:gd name="T64" fmla="*/ 10 w 645"/>
                <a:gd name="T65" fmla="*/ 102 h 259"/>
                <a:gd name="T66" fmla="*/ 13 w 645"/>
                <a:gd name="T67" fmla="*/ 160 h 259"/>
                <a:gd name="T68" fmla="*/ 58 w 645"/>
                <a:gd name="T69" fmla="*/ 202 h 259"/>
                <a:gd name="T70" fmla="*/ 119 w 645"/>
                <a:gd name="T71" fmla="*/ 227 h 259"/>
                <a:gd name="T72" fmla="*/ 184 w 645"/>
                <a:gd name="T73" fmla="*/ 242 h 259"/>
                <a:gd name="T74" fmla="*/ 321 w 645"/>
                <a:gd name="T75" fmla="*/ 255 h 259"/>
                <a:gd name="T76" fmla="*/ 389 w 645"/>
                <a:gd name="T77" fmla="*/ 250 h 259"/>
                <a:gd name="T78" fmla="*/ 457 w 645"/>
                <a:gd name="T79" fmla="*/ 240 h 259"/>
                <a:gd name="T80" fmla="*/ 523 w 645"/>
                <a:gd name="T81" fmla="*/ 225 h 259"/>
                <a:gd name="T82" fmla="*/ 584 w 645"/>
                <a:gd name="T83" fmla="*/ 202 h 259"/>
                <a:gd name="T84" fmla="*/ 631 w 645"/>
                <a:gd name="T85" fmla="*/ 161 h 259"/>
                <a:gd name="T86" fmla="*/ 635 w 645"/>
                <a:gd name="T87" fmla="*/ 104 h 259"/>
                <a:gd name="T88" fmla="*/ 619 w 645"/>
                <a:gd name="T89" fmla="*/ 80 h 259"/>
                <a:gd name="T90" fmla="*/ 597 w 645"/>
                <a:gd name="T91" fmla="*/ 62 h 259"/>
                <a:gd name="T92" fmla="*/ 549 w 645"/>
                <a:gd name="T93" fmla="*/ 39 h 259"/>
                <a:gd name="T94" fmla="*/ 458 w 645"/>
                <a:gd name="T95" fmla="*/ 15 h 259"/>
                <a:gd name="T96" fmla="*/ 386 w 645"/>
                <a:gd name="T97" fmla="*/ 5 h 259"/>
                <a:gd name="T98" fmla="*/ 339 w 645"/>
                <a:gd name="T99" fmla="*/ 1 h 259"/>
                <a:gd name="T100" fmla="*/ 322 w 645"/>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5" h="259">
                  <a:moveTo>
                    <a:pt x="322" y="0"/>
                  </a:moveTo>
                  <a:cubicBezTo>
                    <a:pt x="322" y="0"/>
                    <a:pt x="328" y="0"/>
                    <a:pt x="339" y="1"/>
                  </a:cubicBezTo>
                  <a:cubicBezTo>
                    <a:pt x="350" y="1"/>
                    <a:pt x="366" y="2"/>
                    <a:pt x="386" y="4"/>
                  </a:cubicBezTo>
                  <a:cubicBezTo>
                    <a:pt x="406" y="6"/>
                    <a:pt x="430" y="9"/>
                    <a:pt x="458" y="14"/>
                  </a:cubicBezTo>
                  <a:cubicBezTo>
                    <a:pt x="485" y="19"/>
                    <a:pt x="517" y="26"/>
                    <a:pt x="549" y="38"/>
                  </a:cubicBezTo>
                  <a:cubicBezTo>
                    <a:pt x="565" y="44"/>
                    <a:pt x="582" y="51"/>
                    <a:pt x="598" y="61"/>
                  </a:cubicBezTo>
                  <a:cubicBezTo>
                    <a:pt x="606" y="66"/>
                    <a:pt x="613" y="72"/>
                    <a:pt x="620" y="79"/>
                  </a:cubicBezTo>
                  <a:cubicBezTo>
                    <a:pt x="627" y="85"/>
                    <a:pt x="633" y="94"/>
                    <a:pt x="637" y="103"/>
                  </a:cubicBezTo>
                  <a:cubicBezTo>
                    <a:pt x="645" y="121"/>
                    <a:pt x="644" y="144"/>
                    <a:pt x="633" y="162"/>
                  </a:cubicBezTo>
                  <a:cubicBezTo>
                    <a:pt x="622" y="180"/>
                    <a:pt x="604" y="194"/>
                    <a:pt x="585" y="204"/>
                  </a:cubicBezTo>
                  <a:cubicBezTo>
                    <a:pt x="566" y="214"/>
                    <a:pt x="545" y="222"/>
                    <a:pt x="523" y="228"/>
                  </a:cubicBezTo>
                  <a:cubicBezTo>
                    <a:pt x="502" y="234"/>
                    <a:pt x="480" y="240"/>
                    <a:pt x="458" y="244"/>
                  </a:cubicBezTo>
                  <a:cubicBezTo>
                    <a:pt x="435" y="248"/>
                    <a:pt x="413" y="251"/>
                    <a:pt x="390" y="253"/>
                  </a:cubicBezTo>
                  <a:cubicBezTo>
                    <a:pt x="367" y="256"/>
                    <a:pt x="344" y="258"/>
                    <a:pt x="321" y="259"/>
                  </a:cubicBezTo>
                  <a:cubicBezTo>
                    <a:pt x="275" y="257"/>
                    <a:pt x="228" y="253"/>
                    <a:pt x="184" y="245"/>
                  </a:cubicBezTo>
                  <a:cubicBezTo>
                    <a:pt x="161" y="241"/>
                    <a:pt x="139" y="236"/>
                    <a:pt x="118" y="229"/>
                  </a:cubicBezTo>
                  <a:cubicBezTo>
                    <a:pt x="97" y="223"/>
                    <a:pt x="76" y="215"/>
                    <a:pt x="57" y="204"/>
                  </a:cubicBezTo>
                  <a:cubicBezTo>
                    <a:pt x="47" y="199"/>
                    <a:pt x="38" y="193"/>
                    <a:pt x="30" y="186"/>
                  </a:cubicBezTo>
                  <a:cubicBezTo>
                    <a:pt x="22" y="179"/>
                    <a:pt x="16" y="170"/>
                    <a:pt x="11" y="161"/>
                  </a:cubicBezTo>
                  <a:cubicBezTo>
                    <a:pt x="1" y="142"/>
                    <a:pt x="0" y="120"/>
                    <a:pt x="8" y="101"/>
                  </a:cubicBezTo>
                  <a:cubicBezTo>
                    <a:pt x="16" y="82"/>
                    <a:pt x="31" y="69"/>
                    <a:pt x="47" y="59"/>
                  </a:cubicBezTo>
                  <a:cubicBezTo>
                    <a:pt x="63" y="48"/>
                    <a:pt x="79" y="41"/>
                    <a:pt x="96" y="35"/>
                  </a:cubicBezTo>
                  <a:cubicBezTo>
                    <a:pt x="128" y="24"/>
                    <a:pt x="159" y="17"/>
                    <a:pt x="187" y="12"/>
                  </a:cubicBezTo>
                  <a:cubicBezTo>
                    <a:pt x="215" y="8"/>
                    <a:pt x="239" y="5"/>
                    <a:pt x="259" y="3"/>
                  </a:cubicBezTo>
                  <a:cubicBezTo>
                    <a:pt x="279" y="2"/>
                    <a:pt x="295" y="1"/>
                    <a:pt x="306" y="0"/>
                  </a:cubicBezTo>
                  <a:cubicBezTo>
                    <a:pt x="317" y="0"/>
                    <a:pt x="322" y="0"/>
                    <a:pt x="322" y="0"/>
                  </a:cubicBezTo>
                  <a:close/>
                  <a:moveTo>
                    <a:pt x="322" y="0"/>
                  </a:moveTo>
                  <a:cubicBezTo>
                    <a:pt x="322" y="0"/>
                    <a:pt x="317" y="0"/>
                    <a:pt x="306" y="0"/>
                  </a:cubicBezTo>
                  <a:cubicBezTo>
                    <a:pt x="295" y="1"/>
                    <a:pt x="279" y="2"/>
                    <a:pt x="259" y="4"/>
                  </a:cubicBezTo>
                  <a:cubicBezTo>
                    <a:pt x="239" y="6"/>
                    <a:pt x="215" y="8"/>
                    <a:pt x="187" y="13"/>
                  </a:cubicBezTo>
                  <a:cubicBezTo>
                    <a:pt x="160" y="18"/>
                    <a:pt x="128" y="25"/>
                    <a:pt x="96" y="36"/>
                  </a:cubicBezTo>
                  <a:cubicBezTo>
                    <a:pt x="80" y="42"/>
                    <a:pt x="63" y="50"/>
                    <a:pt x="48" y="60"/>
                  </a:cubicBezTo>
                  <a:cubicBezTo>
                    <a:pt x="32" y="70"/>
                    <a:pt x="18" y="84"/>
                    <a:pt x="10" y="102"/>
                  </a:cubicBezTo>
                  <a:cubicBezTo>
                    <a:pt x="2" y="120"/>
                    <a:pt x="3" y="142"/>
                    <a:pt x="13" y="160"/>
                  </a:cubicBezTo>
                  <a:cubicBezTo>
                    <a:pt x="22" y="178"/>
                    <a:pt x="40" y="192"/>
                    <a:pt x="58" y="202"/>
                  </a:cubicBezTo>
                  <a:cubicBezTo>
                    <a:pt x="77" y="213"/>
                    <a:pt x="97" y="220"/>
                    <a:pt x="119" y="227"/>
                  </a:cubicBezTo>
                  <a:cubicBezTo>
                    <a:pt x="140" y="233"/>
                    <a:pt x="162" y="238"/>
                    <a:pt x="184" y="242"/>
                  </a:cubicBezTo>
                  <a:cubicBezTo>
                    <a:pt x="229" y="249"/>
                    <a:pt x="275" y="253"/>
                    <a:pt x="321" y="255"/>
                  </a:cubicBezTo>
                  <a:cubicBezTo>
                    <a:pt x="344" y="254"/>
                    <a:pt x="367" y="252"/>
                    <a:pt x="389" y="250"/>
                  </a:cubicBezTo>
                  <a:cubicBezTo>
                    <a:pt x="412" y="247"/>
                    <a:pt x="435" y="244"/>
                    <a:pt x="457" y="240"/>
                  </a:cubicBezTo>
                  <a:cubicBezTo>
                    <a:pt x="479" y="236"/>
                    <a:pt x="501" y="232"/>
                    <a:pt x="523" y="225"/>
                  </a:cubicBezTo>
                  <a:cubicBezTo>
                    <a:pt x="544" y="219"/>
                    <a:pt x="565" y="212"/>
                    <a:pt x="584" y="202"/>
                  </a:cubicBezTo>
                  <a:cubicBezTo>
                    <a:pt x="602" y="192"/>
                    <a:pt x="620" y="179"/>
                    <a:pt x="631" y="161"/>
                  </a:cubicBezTo>
                  <a:cubicBezTo>
                    <a:pt x="642" y="144"/>
                    <a:pt x="643" y="121"/>
                    <a:pt x="635" y="104"/>
                  </a:cubicBezTo>
                  <a:cubicBezTo>
                    <a:pt x="631" y="95"/>
                    <a:pt x="626" y="87"/>
                    <a:pt x="619" y="80"/>
                  </a:cubicBezTo>
                  <a:cubicBezTo>
                    <a:pt x="612" y="73"/>
                    <a:pt x="605" y="67"/>
                    <a:pt x="597" y="62"/>
                  </a:cubicBezTo>
                  <a:cubicBezTo>
                    <a:pt x="581" y="52"/>
                    <a:pt x="565" y="45"/>
                    <a:pt x="549" y="39"/>
                  </a:cubicBezTo>
                  <a:cubicBezTo>
                    <a:pt x="516" y="27"/>
                    <a:pt x="485" y="20"/>
                    <a:pt x="458" y="15"/>
                  </a:cubicBezTo>
                  <a:cubicBezTo>
                    <a:pt x="430" y="10"/>
                    <a:pt x="406" y="7"/>
                    <a:pt x="386" y="5"/>
                  </a:cubicBezTo>
                  <a:cubicBezTo>
                    <a:pt x="366" y="2"/>
                    <a:pt x="350" y="1"/>
                    <a:pt x="339" y="1"/>
                  </a:cubicBezTo>
                  <a:cubicBezTo>
                    <a:pt x="328" y="0"/>
                    <a:pt x="322" y="0"/>
                    <a:pt x="322"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3" name="Freeform 16">
              <a:extLst>
                <a:ext uri="{FF2B5EF4-FFF2-40B4-BE49-F238E27FC236}">
                  <a16:creationId xmlns:a16="http://schemas.microsoft.com/office/drawing/2014/main" id="{39CF4676-EDD3-A945-9CA9-DB60B574B65D}"/>
                </a:ext>
              </a:extLst>
            </p:cNvPr>
            <p:cNvSpPr>
              <a:spLocks noEditPoints="1"/>
            </p:cNvSpPr>
            <p:nvPr/>
          </p:nvSpPr>
          <p:spPr bwMode="auto">
            <a:xfrm>
              <a:off x="11069525" y="3897832"/>
              <a:ext cx="2252731" cy="1015480"/>
            </a:xfrm>
            <a:custGeom>
              <a:avLst/>
              <a:gdLst>
                <a:gd name="T0" fmla="*/ 286 w 575"/>
                <a:gd name="T1" fmla="*/ 0 h 259"/>
                <a:gd name="T2" fmla="*/ 302 w 575"/>
                <a:gd name="T3" fmla="*/ 1 h 259"/>
                <a:gd name="T4" fmla="*/ 344 w 575"/>
                <a:gd name="T5" fmla="*/ 4 h 259"/>
                <a:gd name="T6" fmla="*/ 410 w 575"/>
                <a:gd name="T7" fmla="*/ 15 h 259"/>
                <a:gd name="T8" fmla="*/ 493 w 575"/>
                <a:gd name="T9" fmla="*/ 39 h 259"/>
                <a:gd name="T10" fmla="*/ 536 w 575"/>
                <a:gd name="T11" fmla="*/ 64 h 259"/>
                <a:gd name="T12" fmla="*/ 555 w 575"/>
                <a:gd name="T13" fmla="*/ 81 h 259"/>
                <a:gd name="T14" fmla="*/ 569 w 575"/>
                <a:gd name="T15" fmla="*/ 105 h 259"/>
                <a:gd name="T16" fmla="*/ 565 w 575"/>
                <a:gd name="T17" fmla="*/ 160 h 259"/>
                <a:gd name="T18" fmla="*/ 525 w 575"/>
                <a:gd name="T19" fmla="*/ 202 h 259"/>
                <a:gd name="T20" fmla="*/ 470 w 575"/>
                <a:gd name="T21" fmla="*/ 227 h 259"/>
                <a:gd name="T22" fmla="*/ 410 w 575"/>
                <a:gd name="T23" fmla="*/ 243 h 259"/>
                <a:gd name="T24" fmla="*/ 348 w 575"/>
                <a:gd name="T25" fmla="*/ 253 h 259"/>
                <a:gd name="T26" fmla="*/ 285 w 575"/>
                <a:gd name="T27" fmla="*/ 259 h 259"/>
                <a:gd name="T28" fmla="*/ 159 w 575"/>
                <a:gd name="T29" fmla="*/ 244 h 259"/>
                <a:gd name="T30" fmla="*/ 99 w 575"/>
                <a:gd name="T31" fmla="*/ 228 h 259"/>
                <a:gd name="T32" fmla="*/ 45 w 575"/>
                <a:gd name="T33" fmla="*/ 202 h 259"/>
                <a:gd name="T34" fmla="*/ 6 w 575"/>
                <a:gd name="T35" fmla="*/ 158 h 259"/>
                <a:gd name="T36" fmla="*/ 0 w 575"/>
                <a:gd name="T37" fmla="*/ 131 h 259"/>
                <a:gd name="T38" fmla="*/ 5 w 575"/>
                <a:gd name="T39" fmla="*/ 103 h 259"/>
                <a:gd name="T40" fmla="*/ 37 w 575"/>
                <a:gd name="T41" fmla="*/ 61 h 259"/>
                <a:gd name="T42" fmla="*/ 80 w 575"/>
                <a:gd name="T43" fmla="*/ 37 h 259"/>
                <a:gd name="T44" fmla="*/ 163 w 575"/>
                <a:gd name="T45" fmla="*/ 13 h 259"/>
                <a:gd name="T46" fmla="*/ 229 w 575"/>
                <a:gd name="T47" fmla="*/ 3 h 259"/>
                <a:gd name="T48" fmla="*/ 271 w 575"/>
                <a:gd name="T49" fmla="*/ 0 h 259"/>
                <a:gd name="T50" fmla="*/ 286 w 575"/>
                <a:gd name="T51" fmla="*/ 0 h 259"/>
                <a:gd name="T52" fmla="*/ 286 w 575"/>
                <a:gd name="T53" fmla="*/ 0 h 259"/>
                <a:gd name="T54" fmla="*/ 271 w 575"/>
                <a:gd name="T55" fmla="*/ 0 h 259"/>
                <a:gd name="T56" fmla="*/ 229 w 575"/>
                <a:gd name="T57" fmla="*/ 4 h 259"/>
                <a:gd name="T58" fmla="*/ 163 w 575"/>
                <a:gd name="T59" fmla="*/ 13 h 259"/>
                <a:gd name="T60" fmla="*/ 80 w 575"/>
                <a:gd name="T61" fmla="*/ 38 h 259"/>
                <a:gd name="T62" fmla="*/ 37 w 575"/>
                <a:gd name="T63" fmla="*/ 62 h 259"/>
                <a:gd name="T64" fmla="*/ 6 w 575"/>
                <a:gd name="T65" fmla="*/ 104 h 259"/>
                <a:gd name="T66" fmla="*/ 2 w 575"/>
                <a:gd name="T67" fmla="*/ 130 h 259"/>
                <a:gd name="T68" fmla="*/ 8 w 575"/>
                <a:gd name="T69" fmla="*/ 157 h 259"/>
                <a:gd name="T70" fmla="*/ 47 w 575"/>
                <a:gd name="T71" fmla="*/ 200 h 259"/>
                <a:gd name="T72" fmla="*/ 101 w 575"/>
                <a:gd name="T73" fmla="*/ 225 h 259"/>
                <a:gd name="T74" fmla="*/ 160 w 575"/>
                <a:gd name="T75" fmla="*/ 241 h 259"/>
                <a:gd name="T76" fmla="*/ 285 w 575"/>
                <a:gd name="T77" fmla="*/ 255 h 259"/>
                <a:gd name="T78" fmla="*/ 348 w 575"/>
                <a:gd name="T79" fmla="*/ 250 h 259"/>
                <a:gd name="T80" fmla="*/ 409 w 575"/>
                <a:gd name="T81" fmla="*/ 240 h 259"/>
                <a:gd name="T82" fmla="*/ 469 w 575"/>
                <a:gd name="T83" fmla="*/ 224 h 259"/>
                <a:gd name="T84" fmla="*/ 523 w 575"/>
                <a:gd name="T85" fmla="*/ 199 h 259"/>
                <a:gd name="T86" fmla="*/ 563 w 575"/>
                <a:gd name="T87" fmla="*/ 159 h 259"/>
                <a:gd name="T88" fmla="*/ 567 w 575"/>
                <a:gd name="T89" fmla="*/ 105 h 259"/>
                <a:gd name="T90" fmla="*/ 554 w 575"/>
                <a:gd name="T91" fmla="*/ 82 h 259"/>
                <a:gd name="T92" fmla="*/ 535 w 575"/>
                <a:gd name="T93" fmla="*/ 65 h 259"/>
                <a:gd name="T94" fmla="*/ 493 w 575"/>
                <a:gd name="T95" fmla="*/ 40 h 259"/>
                <a:gd name="T96" fmla="*/ 410 w 575"/>
                <a:gd name="T97" fmla="*/ 15 h 259"/>
                <a:gd name="T98" fmla="*/ 344 w 575"/>
                <a:gd name="T99" fmla="*/ 5 h 259"/>
                <a:gd name="T100" fmla="*/ 302 w 575"/>
                <a:gd name="T101" fmla="*/ 1 h 259"/>
                <a:gd name="T102" fmla="*/ 286 w 575"/>
                <a:gd name="T10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5" h="259">
                  <a:moveTo>
                    <a:pt x="286" y="0"/>
                  </a:moveTo>
                  <a:cubicBezTo>
                    <a:pt x="286" y="0"/>
                    <a:pt x="292" y="0"/>
                    <a:pt x="302" y="1"/>
                  </a:cubicBezTo>
                  <a:cubicBezTo>
                    <a:pt x="312" y="1"/>
                    <a:pt x="326" y="2"/>
                    <a:pt x="344" y="4"/>
                  </a:cubicBezTo>
                  <a:cubicBezTo>
                    <a:pt x="363" y="7"/>
                    <a:pt x="385" y="10"/>
                    <a:pt x="410" y="15"/>
                  </a:cubicBezTo>
                  <a:cubicBezTo>
                    <a:pt x="435" y="20"/>
                    <a:pt x="464" y="27"/>
                    <a:pt x="493" y="39"/>
                  </a:cubicBezTo>
                  <a:cubicBezTo>
                    <a:pt x="508" y="46"/>
                    <a:pt x="522" y="53"/>
                    <a:pt x="536" y="64"/>
                  </a:cubicBezTo>
                  <a:cubicBezTo>
                    <a:pt x="543" y="69"/>
                    <a:pt x="549" y="75"/>
                    <a:pt x="555" y="81"/>
                  </a:cubicBezTo>
                  <a:cubicBezTo>
                    <a:pt x="561" y="88"/>
                    <a:pt x="566" y="96"/>
                    <a:pt x="569" y="105"/>
                  </a:cubicBezTo>
                  <a:cubicBezTo>
                    <a:pt x="575" y="122"/>
                    <a:pt x="574" y="142"/>
                    <a:pt x="565" y="160"/>
                  </a:cubicBezTo>
                  <a:cubicBezTo>
                    <a:pt x="557" y="177"/>
                    <a:pt x="542" y="191"/>
                    <a:pt x="525" y="202"/>
                  </a:cubicBezTo>
                  <a:cubicBezTo>
                    <a:pt x="508" y="212"/>
                    <a:pt x="489" y="220"/>
                    <a:pt x="470" y="227"/>
                  </a:cubicBezTo>
                  <a:cubicBezTo>
                    <a:pt x="451" y="234"/>
                    <a:pt x="430" y="239"/>
                    <a:pt x="410" y="243"/>
                  </a:cubicBezTo>
                  <a:cubicBezTo>
                    <a:pt x="390" y="247"/>
                    <a:pt x="369" y="251"/>
                    <a:pt x="348" y="253"/>
                  </a:cubicBezTo>
                  <a:cubicBezTo>
                    <a:pt x="327" y="256"/>
                    <a:pt x="306" y="258"/>
                    <a:pt x="285" y="259"/>
                  </a:cubicBezTo>
                  <a:cubicBezTo>
                    <a:pt x="242" y="257"/>
                    <a:pt x="200" y="253"/>
                    <a:pt x="159" y="244"/>
                  </a:cubicBezTo>
                  <a:cubicBezTo>
                    <a:pt x="139" y="240"/>
                    <a:pt x="119" y="235"/>
                    <a:pt x="99" y="228"/>
                  </a:cubicBezTo>
                  <a:cubicBezTo>
                    <a:pt x="80" y="222"/>
                    <a:pt x="62" y="213"/>
                    <a:pt x="45" y="202"/>
                  </a:cubicBezTo>
                  <a:cubicBezTo>
                    <a:pt x="29" y="191"/>
                    <a:pt x="14" y="176"/>
                    <a:pt x="6" y="158"/>
                  </a:cubicBezTo>
                  <a:cubicBezTo>
                    <a:pt x="3" y="150"/>
                    <a:pt x="1" y="140"/>
                    <a:pt x="0" y="131"/>
                  </a:cubicBezTo>
                  <a:cubicBezTo>
                    <a:pt x="0" y="121"/>
                    <a:pt x="2" y="112"/>
                    <a:pt x="5" y="103"/>
                  </a:cubicBezTo>
                  <a:cubicBezTo>
                    <a:pt x="11" y="86"/>
                    <a:pt x="23" y="72"/>
                    <a:pt x="37" y="61"/>
                  </a:cubicBezTo>
                  <a:cubicBezTo>
                    <a:pt x="50" y="51"/>
                    <a:pt x="65" y="43"/>
                    <a:pt x="80" y="37"/>
                  </a:cubicBezTo>
                  <a:cubicBezTo>
                    <a:pt x="109" y="25"/>
                    <a:pt x="137" y="18"/>
                    <a:pt x="163" y="13"/>
                  </a:cubicBezTo>
                  <a:cubicBezTo>
                    <a:pt x="188" y="8"/>
                    <a:pt x="210" y="5"/>
                    <a:pt x="229" y="3"/>
                  </a:cubicBezTo>
                  <a:cubicBezTo>
                    <a:pt x="247" y="2"/>
                    <a:pt x="261" y="1"/>
                    <a:pt x="271" y="0"/>
                  </a:cubicBezTo>
                  <a:cubicBezTo>
                    <a:pt x="281" y="0"/>
                    <a:pt x="286" y="0"/>
                    <a:pt x="286" y="0"/>
                  </a:cubicBezTo>
                  <a:close/>
                  <a:moveTo>
                    <a:pt x="286" y="0"/>
                  </a:moveTo>
                  <a:cubicBezTo>
                    <a:pt x="286" y="0"/>
                    <a:pt x="281" y="0"/>
                    <a:pt x="271" y="0"/>
                  </a:cubicBezTo>
                  <a:cubicBezTo>
                    <a:pt x="261" y="1"/>
                    <a:pt x="247" y="2"/>
                    <a:pt x="229" y="4"/>
                  </a:cubicBezTo>
                  <a:cubicBezTo>
                    <a:pt x="210" y="6"/>
                    <a:pt x="188" y="8"/>
                    <a:pt x="163" y="13"/>
                  </a:cubicBezTo>
                  <a:cubicBezTo>
                    <a:pt x="138" y="19"/>
                    <a:pt x="109" y="25"/>
                    <a:pt x="80" y="38"/>
                  </a:cubicBezTo>
                  <a:cubicBezTo>
                    <a:pt x="66" y="44"/>
                    <a:pt x="51" y="52"/>
                    <a:pt x="37" y="62"/>
                  </a:cubicBezTo>
                  <a:cubicBezTo>
                    <a:pt x="24" y="73"/>
                    <a:pt x="12" y="87"/>
                    <a:pt x="6" y="104"/>
                  </a:cubicBezTo>
                  <a:cubicBezTo>
                    <a:pt x="3" y="112"/>
                    <a:pt x="2" y="121"/>
                    <a:pt x="2" y="130"/>
                  </a:cubicBezTo>
                  <a:cubicBezTo>
                    <a:pt x="3" y="140"/>
                    <a:pt x="5" y="149"/>
                    <a:pt x="8" y="157"/>
                  </a:cubicBezTo>
                  <a:cubicBezTo>
                    <a:pt x="16" y="175"/>
                    <a:pt x="30" y="189"/>
                    <a:pt x="47" y="200"/>
                  </a:cubicBezTo>
                  <a:cubicBezTo>
                    <a:pt x="63" y="210"/>
                    <a:pt x="81" y="219"/>
                    <a:pt x="101" y="225"/>
                  </a:cubicBezTo>
                  <a:cubicBezTo>
                    <a:pt x="120" y="232"/>
                    <a:pt x="140" y="237"/>
                    <a:pt x="160" y="241"/>
                  </a:cubicBezTo>
                  <a:cubicBezTo>
                    <a:pt x="201" y="249"/>
                    <a:pt x="243" y="253"/>
                    <a:pt x="285" y="255"/>
                  </a:cubicBezTo>
                  <a:cubicBezTo>
                    <a:pt x="306" y="254"/>
                    <a:pt x="327" y="252"/>
                    <a:pt x="348" y="250"/>
                  </a:cubicBezTo>
                  <a:cubicBezTo>
                    <a:pt x="368" y="247"/>
                    <a:pt x="389" y="244"/>
                    <a:pt x="409" y="240"/>
                  </a:cubicBezTo>
                  <a:cubicBezTo>
                    <a:pt x="430" y="236"/>
                    <a:pt x="450" y="230"/>
                    <a:pt x="469" y="224"/>
                  </a:cubicBezTo>
                  <a:cubicBezTo>
                    <a:pt x="488" y="218"/>
                    <a:pt x="507" y="210"/>
                    <a:pt x="523" y="199"/>
                  </a:cubicBezTo>
                  <a:cubicBezTo>
                    <a:pt x="540" y="189"/>
                    <a:pt x="555" y="176"/>
                    <a:pt x="563" y="159"/>
                  </a:cubicBezTo>
                  <a:cubicBezTo>
                    <a:pt x="572" y="142"/>
                    <a:pt x="573" y="122"/>
                    <a:pt x="567" y="105"/>
                  </a:cubicBezTo>
                  <a:cubicBezTo>
                    <a:pt x="564" y="97"/>
                    <a:pt x="559" y="89"/>
                    <a:pt x="554" y="82"/>
                  </a:cubicBezTo>
                  <a:cubicBezTo>
                    <a:pt x="548" y="76"/>
                    <a:pt x="542" y="70"/>
                    <a:pt x="535" y="65"/>
                  </a:cubicBezTo>
                  <a:cubicBezTo>
                    <a:pt x="522" y="54"/>
                    <a:pt x="507" y="47"/>
                    <a:pt x="493" y="40"/>
                  </a:cubicBezTo>
                  <a:cubicBezTo>
                    <a:pt x="464" y="28"/>
                    <a:pt x="435" y="21"/>
                    <a:pt x="410" y="15"/>
                  </a:cubicBezTo>
                  <a:cubicBezTo>
                    <a:pt x="385" y="10"/>
                    <a:pt x="363" y="7"/>
                    <a:pt x="344" y="5"/>
                  </a:cubicBezTo>
                  <a:cubicBezTo>
                    <a:pt x="326" y="2"/>
                    <a:pt x="312" y="1"/>
                    <a:pt x="302" y="1"/>
                  </a:cubicBezTo>
                  <a:cubicBezTo>
                    <a:pt x="292" y="0"/>
                    <a:pt x="286" y="0"/>
                    <a:pt x="286" y="0"/>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4" name="Freeform 17">
              <a:extLst>
                <a:ext uri="{FF2B5EF4-FFF2-40B4-BE49-F238E27FC236}">
                  <a16:creationId xmlns:a16="http://schemas.microsoft.com/office/drawing/2014/main" id="{929DC1D3-C5DA-D94D-879D-FB9BDE76F31B}"/>
                </a:ext>
              </a:extLst>
            </p:cNvPr>
            <p:cNvSpPr>
              <a:spLocks noEditPoints="1"/>
            </p:cNvSpPr>
            <p:nvPr/>
          </p:nvSpPr>
          <p:spPr bwMode="auto">
            <a:xfrm>
              <a:off x="10688234" y="2573040"/>
              <a:ext cx="3007532" cy="398799"/>
            </a:xfrm>
            <a:custGeom>
              <a:avLst/>
              <a:gdLst>
                <a:gd name="T0" fmla="*/ 451 w 767"/>
                <a:gd name="T1" fmla="*/ 101 h 102"/>
                <a:gd name="T2" fmla="*/ 628 w 767"/>
                <a:gd name="T3" fmla="*/ 90 h 102"/>
                <a:gd name="T4" fmla="*/ 715 w 767"/>
                <a:gd name="T5" fmla="*/ 77 h 102"/>
                <a:gd name="T6" fmla="*/ 759 w 767"/>
                <a:gd name="T7" fmla="*/ 61 h 102"/>
                <a:gd name="T8" fmla="*/ 764 w 767"/>
                <a:gd name="T9" fmla="*/ 54 h 102"/>
                <a:gd name="T10" fmla="*/ 764 w 767"/>
                <a:gd name="T11" fmla="*/ 50 h 102"/>
                <a:gd name="T12" fmla="*/ 752 w 767"/>
                <a:gd name="T13" fmla="*/ 39 h 102"/>
                <a:gd name="T14" fmla="*/ 670 w 767"/>
                <a:gd name="T15" fmla="*/ 20 h 102"/>
                <a:gd name="T16" fmla="*/ 383 w 767"/>
                <a:gd name="T17" fmla="*/ 4 h 102"/>
                <a:gd name="T18" fmla="*/ 96 w 767"/>
                <a:gd name="T19" fmla="*/ 20 h 102"/>
                <a:gd name="T20" fmla="*/ 14 w 767"/>
                <a:gd name="T21" fmla="*/ 39 h 102"/>
                <a:gd name="T22" fmla="*/ 3 w 767"/>
                <a:gd name="T23" fmla="*/ 49 h 102"/>
                <a:gd name="T24" fmla="*/ 2 w 767"/>
                <a:gd name="T25" fmla="*/ 52 h 102"/>
                <a:gd name="T26" fmla="*/ 2 w 767"/>
                <a:gd name="T27" fmla="*/ 53 h 102"/>
                <a:gd name="T28" fmla="*/ 8 w 767"/>
                <a:gd name="T29" fmla="*/ 62 h 102"/>
                <a:gd name="T30" fmla="*/ 52 w 767"/>
                <a:gd name="T31" fmla="*/ 78 h 102"/>
                <a:gd name="T32" fmla="*/ 139 w 767"/>
                <a:gd name="T33" fmla="*/ 90 h 102"/>
                <a:gd name="T34" fmla="*/ 316 w 767"/>
                <a:gd name="T35" fmla="*/ 101 h 102"/>
                <a:gd name="T36" fmla="*/ 383 w 767"/>
                <a:gd name="T37" fmla="*/ 102 h 102"/>
                <a:gd name="T38" fmla="*/ 239 w 767"/>
                <a:gd name="T39" fmla="*/ 98 h 102"/>
                <a:gd name="T40" fmla="*/ 81 w 767"/>
                <a:gd name="T41" fmla="*/ 85 h 102"/>
                <a:gd name="T42" fmla="*/ 22 w 767"/>
                <a:gd name="T43" fmla="*/ 71 h 102"/>
                <a:gd name="T44" fmla="*/ 2 w 767"/>
                <a:gd name="T45" fmla="*/ 57 h 102"/>
                <a:gd name="T46" fmla="*/ 0 w 767"/>
                <a:gd name="T47" fmla="*/ 52 h 102"/>
                <a:gd name="T48" fmla="*/ 1 w 767"/>
                <a:gd name="T49" fmla="*/ 51 h 102"/>
                <a:gd name="T50" fmla="*/ 6 w 767"/>
                <a:gd name="T51" fmla="*/ 42 h 102"/>
                <a:gd name="T52" fmla="*/ 29 w 767"/>
                <a:gd name="T53" fmla="*/ 31 h 102"/>
                <a:gd name="T54" fmla="*/ 237 w 767"/>
                <a:gd name="T55" fmla="*/ 5 h 102"/>
                <a:gd name="T56" fmla="*/ 529 w 767"/>
                <a:gd name="T57" fmla="*/ 5 h 102"/>
                <a:gd name="T58" fmla="*/ 737 w 767"/>
                <a:gd name="T59" fmla="*/ 31 h 102"/>
                <a:gd name="T60" fmla="*/ 766 w 767"/>
                <a:gd name="T61" fmla="*/ 48 h 102"/>
                <a:gd name="T62" fmla="*/ 767 w 767"/>
                <a:gd name="T63" fmla="*/ 52 h 102"/>
                <a:gd name="T64" fmla="*/ 766 w 767"/>
                <a:gd name="T65" fmla="*/ 57 h 102"/>
                <a:gd name="T66" fmla="*/ 745 w 767"/>
                <a:gd name="T67" fmla="*/ 70 h 102"/>
                <a:gd name="T68" fmla="*/ 686 w 767"/>
                <a:gd name="T69" fmla="*/ 84 h 102"/>
                <a:gd name="T70" fmla="*/ 528 w 767"/>
                <a:gd name="T71" fmla="*/ 98 h 102"/>
                <a:gd name="T72" fmla="*/ 383 w 767"/>
                <a:gd name="T7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7" h="102">
                  <a:moveTo>
                    <a:pt x="383" y="102"/>
                  </a:moveTo>
                  <a:cubicBezTo>
                    <a:pt x="383" y="102"/>
                    <a:pt x="408" y="102"/>
                    <a:pt x="451" y="101"/>
                  </a:cubicBezTo>
                  <a:cubicBezTo>
                    <a:pt x="472" y="100"/>
                    <a:pt x="498" y="99"/>
                    <a:pt x="528" y="97"/>
                  </a:cubicBezTo>
                  <a:cubicBezTo>
                    <a:pt x="558" y="95"/>
                    <a:pt x="592" y="93"/>
                    <a:pt x="628" y="90"/>
                  </a:cubicBezTo>
                  <a:cubicBezTo>
                    <a:pt x="647" y="88"/>
                    <a:pt x="666" y="85"/>
                    <a:pt x="685" y="82"/>
                  </a:cubicBezTo>
                  <a:cubicBezTo>
                    <a:pt x="695" y="81"/>
                    <a:pt x="705" y="79"/>
                    <a:pt x="715" y="77"/>
                  </a:cubicBezTo>
                  <a:cubicBezTo>
                    <a:pt x="725" y="75"/>
                    <a:pt x="735" y="72"/>
                    <a:pt x="745" y="68"/>
                  </a:cubicBezTo>
                  <a:cubicBezTo>
                    <a:pt x="750" y="67"/>
                    <a:pt x="755" y="64"/>
                    <a:pt x="759" y="61"/>
                  </a:cubicBezTo>
                  <a:cubicBezTo>
                    <a:pt x="761" y="60"/>
                    <a:pt x="763" y="58"/>
                    <a:pt x="764" y="56"/>
                  </a:cubicBezTo>
                  <a:cubicBezTo>
                    <a:pt x="764" y="54"/>
                    <a:pt x="764" y="54"/>
                    <a:pt x="764" y="54"/>
                  </a:cubicBezTo>
                  <a:cubicBezTo>
                    <a:pt x="765" y="52"/>
                    <a:pt x="765" y="52"/>
                    <a:pt x="765" y="52"/>
                  </a:cubicBezTo>
                  <a:cubicBezTo>
                    <a:pt x="765" y="52"/>
                    <a:pt x="764" y="51"/>
                    <a:pt x="764" y="50"/>
                  </a:cubicBezTo>
                  <a:cubicBezTo>
                    <a:pt x="764" y="50"/>
                    <a:pt x="764" y="49"/>
                    <a:pt x="764" y="49"/>
                  </a:cubicBezTo>
                  <a:cubicBezTo>
                    <a:pt x="762" y="44"/>
                    <a:pt x="757" y="41"/>
                    <a:pt x="752" y="39"/>
                  </a:cubicBezTo>
                  <a:cubicBezTo>
                    <a:pt x="747" y="37"/>
                    <a:pt x="742" y="35"/>
                    <a:pt x="737" y="33"/>
                  </a:cubicBezTo>
                  <a:cubicBezTo>
                    <a:pt x="716" y="27"/>
                    <a:pt x="693" y="23"/>
                    <a:pt x="670" y="20"/>
                  </a:cubicBezTo>
                  <a:cubicBezTo>
                    <a:pt x="625" y="14"/>
                    <a:pt x="577" y="11"/>
                    <a:pt x="529" y="9"/>
                  </a:cubicBezTo>
                  <a:cubicBezTo>
                    <a:pt x="481" y="6"/>
                    <a:pt x="432" y="5"/>
                    <a:pt x="383" y="4"/>
                  </a:cubicBezTo>
                  <a:cubicBezTo>
                    <a:pt x="334" y="4"/>
                    <a:pt x="285" y="6"/>
                    <a:pt x="237" y="8"/>
                  </a:cubicBezTo>
                  <a:cubicBezTo>
                    <a:pt x="189" y="10"/>
                    <a:pt x="141" y="14"/>
                    <a:pt x="96" y="20"/>
                  </a:cubicBezTo>
                  <a:cubicBezTo>
                    <a:pt x="73" y="23"/>
                    <a:pt x="50" y="26"/>
                    <a:pt x="29" y="33"/>
                  </a:cubicBezTo>
                  <a:cubicBezTo>
                    <a:pt x="24" y="35"/>
                    <a:pt x="19" y="36"/>
                    <a:pt x="14" y="39"/>
                  </a:cubicBezTo>
                  <a:cubicBezTo>
                    <a:pt x="12" y="40"/>
                    <a:pt x="10" y="42"/>
                    <a:pt x="8" y="43"/>
                  </a:cubicBezTo>
                  <a:cubicBezTo>
                    <a:pt x="6" y="45"/>
                    <a:pt x="4" y="47"/>
                    <a:pt x="3" y="49"/>
                  </a:cubicBezTo>
                  <a:cubicBezTo>
                    <a:pt x="3" y="50"/>
                    <a:pt x="3" y="50"/>
                    <a:pt x="3" y="51"/>
                  </a:cubicBezTo>
                  <a:cubicBezTo>
                    <a:pt x="2" y="52"/>
                    <a:pt x="2" y="52"/>
                    <a:pt x="2" y="52"/>
                  </a:cubicBezTo>
                  <a:cubicBezTo>
                    <a:pt x="2" y="52"/>
                    <a:pt x="2" y="52"/>
                    <a:pt x="2" y="52"/>
                  </a:cubicBezTo>
                  <a:cubicBezTo>
                    <a:pt x="2" y="53"/>
                    <a:pt x="2" y="53"/>
                    <a:pt x="2" y="53"/>
                  </a:cubicBezTo>
                  <a:cubicBezTo>
                    <a:pt x="2" y="54"/>
                    <a:pt x="3" y="55"/>
                    <a:pt x="3" y="56"/>
                  </a:cubicBezTo>
                  <a:cubicBezTo>
                    <a:pt x="5" y="58"/>
                    <a:pt x="6" y="60"/>
                    <a:pt x="8" y="62"/>
                  </a:cubicBezTo>
                  <a:cubicBezTo>
                    <a:pt x="13" y="65"/>
                    <a:pt x="17" y="67"/>
                    <a:pt x="22" y="69"/>
                  </a:cubicBezTo>
                  <a:cubicBezTo>
                    <a:pt x="32" y="73"/>
                    <a:pt x="42" y="76"/>
                    <a:pt x="52" y="78"/>
                  </a:cubicBezTo>
                  <a:cubicBezTo>
                    <a:pt x="62" y="80"/>
                    <a:pt x="72" y="82"/>
                    <a:pt x="82" y="83"/>
                  </a:cubicBezTo>
                  <a:cubicBezTo>
                    <a:pt x="101" y="86"/>
                    <a:pt x="120" y="89"/>
                    <a:pt x="139" y="90"/>
                  </a:cubicBezTo>
                  <a:cubicBezTo>
                    <a:pt x="175" y="94"/>
                    <a:pt x="209" y="96"/>
                    <a:pt x="239" y="98"/>
                  </a:cubicBezTo>
                  <a:cubicBezTo>
                    <a:pt x="269" y="99"/>
                    <a:pt x="295" y="100"/>
                    <a:pt x="316" y="101"/>
                  </a:cubicBezTo>
                  <a:cubicBezTo>
                    <a:pt x="359" y="102"/>
                    <a:pt x="383" y="102"/>
                    <a:pt x="383" y="102"/>
                  </a:cubicBezTo>
                  <a:close/>
                  <a:moveTo>
                    <a:pt x="383" y="102"/>
                  </a:moveTo>
                  <a:cubicBezTo>
                    <a:pt x="383" y="102"/>
                    <a:pt x="359" y="102"/>
                    <a:pt x="316" y="101"/>
                  </a:cubicBezTo>
                  <a:cubicBezTo>
                    <a:pt x="295" y="101"/>
                    <a:pt x="269" y="100"/>
                    <a:pt x="239" y="98"/>
                  </a:cubicBezTo>
                  <a:cubicBezTo>
                    <a:pt x="209" y="97"/>
                    <a:pt x="175" y="95"/>
                    <a:pt x="138" y="92"/>
                  </a:cubicBezTo>
                  <a:cubicBezTo>
                    <a:pt x="120" y="90"/>
                    <a:pt x="101" y="88"/>
                    <a:pt x="81" y="85"/>
                  </a:cubicBezTo>
                  <a:cubicBezTo>
                    <a:pt x="72" y="83"/>
                    <a:pt x="62" y="82"/>
                    <a:pt x="52" y="79"/>
                  </a:cubicBezTo>
                  <a:cubicBezTo>
                    <a:pt x="42" y="77"/>
                    <a:pt x="31" y="75"/>
                    <a:pt x="22" y="71"/>
                  </a:cubicBezTo>
                  <a:cubicBezTo>
                    <a:pt x="17" y="69"/>
                    <a:pt x="12" y="67"/>
                    <a:pt x="7" y="63"/>
                  </a:cubicBezTo>
                  <a:cubicBezTo>
                    <a:pt x="5" y="62"/>
                    <a:pt x="3" y="60"/>
                    <a:pt x="2" y="57"/>
                  </a:cubicBezTo>
                  <a:cubicBezTo>
                    <a:pt x="1" y="56"/>
                    <a:pt x="0" y="54"/>
                    <a:pt x="0" y="53"/>
                  </a:cubicBezTo>
                  <a:cubicBezTo>
                    <a:pt x="0" y="52"/>
                    <a:pt x="0" y="52"/>
                    <a:pt x="0" y="52"/>
                  </a:cubicBezTo>
                  <a:cubicBezTo>
                    <a:pt x="0" y="52"/>
                    <a:pt x="0" y="52"/>
                    <a:pt x="0" y="52"/>
                  </a:cubicBezTo>
                  <a:cubicBezTo>
                    <a:pt x="1" y="51"/>
                    <a:pt x="1" y="51"/>
                    <a:pt x="1" y="51"/>
                  </a:cubicBezTo>
                  <a:cubicBezTo>
                    <a:pt x="1" y="50"/>
                    <a:pt x="1" y="49"/>
                    <a:pt x="1" y="49"/>
                  </a:cubicBezTo>
                  <a:cubicBezTo>
                    <a:pt x="2" y="46"/>
                    <a:pt x="4" y="43"/>
                    <a:pt x="6" y="42"/>
                  </a:cubicBezTo>
                  <a:cubicBezTo>
                    <a:pt x="8" y="40"/>
                    <a:pt x="11" y="38"/>
                    <a:pt x="13" y="37"/>
                  </a:cubicBezTo>
                  <a:cubicBezTo>
                    <a:pt x="18" y="34"/>
                    <a:pt x="23" y="33"/>
                    <a:pt x="29" y="31"/>
                  </a:cubicBezTo>
                  <a:cubicBezTo>
                    <a:pt x="50" y="24"/>
                    <a:pt x="72" y="20"/>
                    <a:pt x="95" y="17"/>
                  </a:cubicBezTo>
                  <a:cubicBezTo>
                    <a:pt x="141" y="11"/>
                    <a:pt x="188" y="7"/>
                    <a:pt x="237" y="5"/>
                  </a:cubicBezTo>
                  <a:cubicBezTo>
                    <a:pt x="285" y="2"/>
                    <a:pt x="334" y="1"/>
                    <a:pt x="383" y="0"/>
                  </a:cubicBezTo>
                  <a:cubicBezTo>
                    <a:pt x="432" y="1"/>
                    <a:pt x="481" y="3"/>
                    <a:pt x="529" y="5"/>
                  </a:cubicBezTo>
                  <a:cubicBezTo>
                    <a:pt x="578" y="8"/>
                    <a:pt x="625" y="12"/>
                    <a:pt x="671" y="18"/>
                  </a:cubicBezTo>
                  <a:cubicBezTo>
                    <a:pt x="694" y="21"/>
                    <a:pt x="716" y="25"/>
                    <a:pt x="737" y="31"/>
                  </a:cubicBezTo>
                  <a:cubicBezTo>
                    <a:pt x="743" y="33"/>
                    <a:pt x="748" y="35"/>
                    <a:pt x="753" y="37"/>
                  </a:cubicBezTo>
                  <a:cubicBezTo>
                    <a:pt x="758" y="40"/>
                    <a:pt x="763" y="43"/>
                    <a:pt x="766" y="48"/>
                  </a:cubicBezTo>
                  <a:cubicBezTo>
                    <a:pt x="766" y="49"/>
                    <a:pt x="766" y="49"/>
                    <a:pt x="766" y="50"/>
                  </a:cubicBezTo>
                  <a:cubicBezTo>
                    <a:pt x="766" y="51"/>
                    <a:pt x="767" y="51"/>
                    <a:pt x="767" y="52"/>
                  </a:cubicBezTo>
                  <a:cubicBezTo>
                    <a:pt x="766" y="55"/>
                    <a:pt x="766" y="55"/>
                    <a:pt x="766" y="55"/>
                  </a:cubicBezTo>
                  <a:cubicBezTo>
                    <a:pt x="766" y="57"/>
                    <a:pt x="766" y="57"/>
                    <a:pt x="766" y="57"/>
                  </a:cubicBezTo>
                  <a:cubicBezTo>
                    <a:pt x="764" y="59"/>
                    <a:pt x="762" y="61"/>
                    <a:pt x="760" y="63"/>
                  </a:cubicBezTo>
                  <a:cubicBezTo>
                    <a:pt x="755" y="66"/>
                    <a:pt x="750" y="68"/>
                    <a:pt x="745" y="70"/>
                  </a:cubicBezTo>
                  <a:cubicBezTo>
                    <a:pt x="736" y="74"/>
                    <a:pt x="725" y="76"/>
                    <a:pt x="715" y="79"/>
                  </a:cubicBezTo>
                  <a:cubicBezTo>
                    <a:pt x="705" y="81"/>
                    <a:pt x="695" y="82"/>
                    <a:pt x="686" y="84"/>
                  </a:cubicBezTo>
                  <a:cubicBezTo>
                    <a:pt x="666" y="87"/>
                    <a:pt x="647" y="89"/>
                    <a:pt x="628" y="91"/>
                  </a:cubicBezTo>
                  <a:cubicBezTo>
                    <a:pt x="592" y="94"/>
                    <a:pt x="558" y="96"/>
                    <a:pt x="528" y="98"/>
                  </a:cubicBezTo>
                  <a:cubicBezTo>
                    <a:pt x="498" y="99"/>
                    <a:pt x="472" y="100"/>
                    <a:pt x="451" y="101"/>
                  </a:cubicBezTo>
                  <a:cubicBezTo>
                    <a:pt x="408" y="102"/>
                    <a:pt x="383" y="102"/>
                    <a:pt x="383" y="102"/>
                  </a:cubicBezTo>
                  <a:close/>
                </a:path>
              </a:pathLst>
            </a:custGeom>
            <a:gradFill>
              <a:gsLst>
                <a:gs pos="0">
                  <a:srgbClr val="369ED9">
                    <a:alpha val="50000"/>
                  </a:srgbClr>
                </a:gs>
                <a:gs pos="53000">
                  <a:srgbClr val="369ED9">
                    <a:alpha val="0"/>
                  </a:srgbClr>
                </a:gs>
                <a:gs pos="100000">
                  <a:srgbClr val="369ED9">
                    <a:alpha val="0"/>
                  </a:srgbClr>
                </a:gs>
              </a:gsLst>
              <a:lin ang="0" scaled="1"/>
            </a:gradFill>
            <a:ln>
              <a:noFill/>
            </a:ln>
            <a:effec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sp>
          <p:nvSpPr>
            <p:cNvPr id="85" name="Oval 84">
              <a:extLst>
                <a:ext uri="{FF2B5EF4-FFF2-40B4-BE49-F238E27FC236}">
                  <a16:creationId xmlns:a16="http://schemas.microsoft.com/office/drawing/2014/main" id="{C0D87540-33A5-614E-B401-F9703C91A95E}"/>
                </a:ext>
              </a:extLst>
            </p:cNvPr>
            <p:cNvSpPr/>
            <p:nvPr/>
          </p:nvSpPr>
          <p:spPr>
            <a:xfrm>
              <a:off x="10943771" y="5413828"/>
              <a:ext cx="73152" cy="73152"/>
            </a:xfrm>
            <a:prstGeom prst="ellipse">
              <a:avLst/>
            </a:prstGeom>
            <a:gradFill>
              <a:gsLst>
                <a:gs pos="0">
                  <a:schemeClr val="accent2">
                    <a:alpha val="31000"/>
                  </a:schemeClr>
                </a:gs>
                <a:gs pos="34500">
                  <a:srgbClr val="03688E">
                    <a:alpha val="17000"/>
                  </a:srgbClr>
                </a:gs>
                <a:gs pos="100000">
                  <a:srgbClr val="000000">
                    <a:alpha val="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86" name="Oval 85">
              <a:extLst>
                <a:ext uri="{FF2B5EF4-FFF2-40B4-BE49-F238E27FC236}">
                  <a16:creationId xmlns:a16="http://schemas.microsoft.com/office/drawing/2014/main" id="{AF6067C9-B8AB-6C41-AF5F-C9F80BB068F6}"/>
                </a:ext>
              </a:extLst>
            </p:cNvPr>
            <p:cNvSpPr/>
            <p:nvPr/>
          </p:nvSpPr>
          <p:spPr>
            <a:xfrm>
              <a:off x="10246723" y="2751183"/>
              <a:ext cx="101600" cy="101600"/>
            </a:xfrm>
            <a:prstGeom prst="ellipse">
              <a:avLst/>
            </a:prstGeom>
            <a:gradFill>
              <a:gsLst>
                <a:gs pos="0">
                  <a:schemeClr val="accent2">
                    <a:alpha val="31000"/>
                  </a:schemeClr>
                </a:gs>
                <a:gs pos="34500">
                  <a:srgbClr val="03688E">
                    <a:alpha val="17000"/>
                  </a:srgbClr>
                </a:gs>
                <a:gs pos="100000">
                  <a:srgbClr val="000000">
                    <a:alpha val="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87" name="Oval 86">
              <a:extLst>
                <a:ext uri="{FF2B5EF4-FFF2-40B4-BE49-F238E27FC236}">
                  <a16:creationId xmlns:a16="http://schemas.microsoft.com/office/drawing/2014/main" id="{A8D8B1E9-D782-E840-BE91-394D43C6DBAD}"/>
                </a:ext>
              </a:extLst>
            </p:cNvPr>
            <p:cNvSpPr/>
            <p:nvPr/>
          </p:nvSpPr>
          <p:spPr>
            <a:xfrm>
              <a:off x="10531203" y="4530997"/>
              <a:ext cx="73152" cy="73152"/>
            </a:xfrm>
            <a:prstGeom prst="ellipse">
              <a:avLst/>
            </a:prstGeom>
            <a:gradFill>
              <a:gsLst>
                <a:gs pos="0">
                  <a:schemeClr val="accent2">
                    <a:alpha val="31000"/>
                  </a:schemeClr>
                </a:gs>
                <a:gs pos="34500">
                  <a:srgbClr val="03688E">
                    <a:alpha val="17000"/>
                  </a:srgbClr>
                </a:gs>
                <a:gs pos="100000">
                  <a:srgbClr val="000000">
                    <a:alpha val="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sp>
          <p:nvSpPr>
            <p:cNvPr id="88" name="Oval 87">
              <a:extLst>
                <a:ext uri="{FF2B5EF4-FFF2-40B4-BE49-F238E27FC236}">
                  <a16:creationId xmlns:a16="http://schemas.microsoft.com/office/drawing/2014/main" id="{C80B0383-70B3-6C4F-9D80-82E35662B1E7}"/>
                </a:ext>
              </a:extLst>
            </p:cNvPr>
            <p:cNvSpPr/>
            <p:nvPr/>
          </p:nvSpPr>
          <p:spPr>
            <a:xfrm>
              <a:off x="12090400" y="4099923"/>
              <a:ext cx="101600" cy="101600"/>
            </a:xfrm>
            <a:prstGeom prst="ellipse">
              <a:avLst/>
            </a:prstGeom>
            <a:gradFill>
              <a:gsLst>
                <a:gs pos="0">
                  <a:schemeClr val="accent2">
                    <a:alpha val="31000"/>
                  </a:schemeClr>
                </a:gs>
                <a:gs pos="34500">
                  <a:srgbClr val="03688E">
                    <a:alpha val="17000"/>
                  </a:srgbClr>
                </a:gs>
                <a:gs pos="100000">
                  <a:srgbClr val="000000">
                    <a:alpha val="0"/>
                  </a:srgb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grpSp>
      <p:grpSp>
        <p:nvGrpSpPr>
          <p:cNvPr id="89" name="Group 88">
            <a:extLst>
              <a:ext uri="{FF2B5EF4-FFF2-40B4-BE49-F238E27FC236}">
                <a16:creationId xmlns:a16="http://schemas.microsoft.com/office/drawing/2014/main" id="{A7C16E5A-4410-0D4A-B154-47CED1BB4645}"/>
              </a:ext>
            </a:extLst>
          </p:cNvPr>
          <p:cNvGrpSpPr/>
          <p:nvPr/>
        </p:nvGrpSpPr>
        <p:grpSpPr>
          <a:xfrm>
            <a:off x="5208814" y="1077686"/>
            <a:ext cx="5234043" cy="3162300"/>
            <a:chOff x="6945084" y="1436914"/>
            <a:chExt cx="6978724" cy="4216400"/>
          </a:xfrm>
        </p:grpSpPr>
        <p:sp>
          <p:nvSpPr>
            <p:cNvPr id="90" name="Oval 89">
              <a:extLst>
                <a:ext uri="{FF2B5EF4-FFF2-40B4-BE49-F238E27FC236}">
                  <a16:creationId xmlns:a16="http://schemas.microsoft.com/office/drawing/2014/main" id="{70815852-3FD4-D643-860B-BFF128519ADF}"/>
                </a:ext>
              </a:extLst>
            </p:cNvPr>
            <p:cNvSpPr/>
            <p:nvPr>
              <p:custDataLst>
                <p:tags r:id="rId5"/>
              </p:custDataLst>
            </p:nvPr>
          </p:nvSpPr>
          <p:spPr>
            <a:xfrm>
              <a:off x="7383168" y="1436914"/>
              <a:ext cx="6540640" cy="4216400"/>
            </a:xfrm>
            <a:prstGeom prst="ellipse">
              <a:avLst/>
            </a:prstGeom>
            <a:gradFill flip="none" rotWithShape="1">
              <a:gsLst>
                <a:gs pos="46000">
                  <a:srgbClr val="101010">
                    <a:alpha val="0"/>
                  </a:srgbClr>
                </a:gs>
                <a:gs pos="0">
                  <a:srgbClr val="000000">
                    <a:alpha val="39000"/>
                  </a:srgbClr>
                </a:gs>
                <a:gs pos="100000">
                  <a:srgbClr val="000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2100" dirty="0">
                <a:solidFill>
                  <a:prstClr val="white"/>
                </a:solidFill>
                <a:latin typeface="CiscoSansTT ExtraLight"/>
              </a:endParaRPr>
            </a:p>
          </p:txBody>
        </p:sp>
        <p:grpSp>
          <p:nvGrpSpPr>
            <p:cNvPr id="91" name="Group 90">
              <a:extLst>
                <a:ext uri="{FF2B5EF4-FFF2-40B4-BE49-F238E27FC236}">
                  <a16:creationId xmlns:a16="http://schemas.microsoft.com/office/drawing/2014/main" id="{446B64AB-27EC-B24C-8781-A844573B928F}"/>
                </a:ext>
              </a:extLst>
            </p:cNvPr>
            <p:cNvGrpSpPr/>
            <p:nvPr>
              <p:custDataLst>
                <p:tags r:id="rId6"/>
              </p:custDataLst>
            </p:nvPr>
          </p:nvGrpSpPr>
          <p:grpSpPr>
            <a:xfrm>
              <a:off x="6945084" y="2805492"/>
              <a:ext cx="4637316" cy="1349843"/>
              <a:chOff x="5958113" y="2805492"/>
              <a:chExt cx="4637316" cy="1349843"/>
            </a:xfrm>
          </p:grpSpPr>
          <p:sp>
            <p:nvSpPr>
              <p:cNvPr id="92" name="TextBox 91">
                <a:extLst>
                  <a:ext uri="{FF2B5EF4-FFF2-40B4-BE49-F238E27FC236}">
                    <a16:creationId xmlns:a16="http://schemas.microsoft.com/office/drawing/2014/main" id="{EDC9C4AC-0DCB-7247-9B02-911272B2706F}"/>
                  </a:ext>
                </a:extLst>
              </p:cNvPr>
              <p:cNvSpPr txBox="1"/>
              <p:nvPr/>
            </p:nvSpPr>
            <p:spPr>
              <a:xfrm>
                <a:off x="5958113" y="3355117"/>
                <a:ext cx="4637316" cy="800218"/>
              </a:xfrm>
              <a:prstGeom prst="rect">
                <a:avLst/>
              </a:prstGeom>
              <a:noFill/>
            </p:spPr>
            <p:txBody>
              <a:bodyPr wrap="square" rtlCol="0">
                <a:spAutoFit/>
              </a:bodyPr>
              <a:lstStyle/>
              <a:p>
                <a:pPr algn="r" defTabSz="685783" fontAlgn="auto">
                  <a:spcBef>
                    <a:spcPts val="0"/>
                  </a:spcBef>
                  <a:spcAft>
                    <a:spcPts val="0"/>
                  </a:spcAft>
                </a:pPr>
                <a:r>
                  <a:rPr lang="en-US" sz="3300" b="1" dirty="0">
                    <a:solidFill>
                      <a:srgbClr val="FFFFFF"/>
                    </a:solidFill>
                    <a:latin typeface="CiscoSans ExtraLight" charset="0"/>
                    <a:ea typeface="CiscoSansTT Thin" charset="0"/>
                    <a:cs typeface="CiscoSansTT Thin" charset="0"/>
                  </a:rPr>
                  <a:t>DEFENDERS</a:t>
                </a:r>
              </a:p>
            </p:txBody>
          </p:sp>
          <p:sp>
            <p:nvSpPr>
              <p:cNvPr id="93" name="Rectangle 92">
                <a:extLst>
                  <a:ext uri="{FF2B5EF4-FFF2-40B4-BE49-F238E27FC236}">
                    <a16:creationId xmlns:a16="http://schemas.microsoft.com/office/drawing/2014/main" id="{E4BAC280-B1DE-5F44-87ED-38843CD14507}"/>
                  </a:ext>
                </a:extLst>
              </p:cNvPr>
              <p:cNvSpPr/>
              <p:nvPr/>
            </p:nvSpPr>
            <p:spPr>
              <a:xfrm>
                <a:off x="8287658" y="2805492"/>
                <a:ext cx="2167619" cy="677108"/>
              </a:xfrm>
              <a:prstGeom prst="rect">
                <a:avLst/>
              </a:prstGeom>
            </p:spPr>
            <p:txBody>
              <a:bodyPr wrap="square">
                <a:spAutoFit/>
              </a:bodyPr>
              <a:lstStyle/>
              <a:p>
                <a:pPr algn="r" defTabSz="685783" fontAlgn="auto">
                  <a:spcBef>
                    <a:spcPts val="0"/>
                  </a:spcBef>
                  <a:spcAft>
                    <a:spcPts val="0"/>
                  </a:spcAft>
                </a:pPr>
                <a:r>
                  <a:rPr lang="en-US" sz="2700" dirty="0">
                    <a:ln w="6350">
                      <a:noFill/>
                    </a:ln>
                    <a:solidFill>
                      <a:srgbClr val="049FD9"/>
                    </a:solidFill>
                    <a:effectLst>
                      <a:outerShdw blurRad="127000" dist="127000" dir="8100000" algn="tl" rotWithShape="0">
                        <a:srgbClr val="000000">
                          <a:alpha val="61000"/>
                        </a:srgbClr>
                      </a:outerShdw>
                    </a:effectLst>
                    <a:latin typeface="CiscoSansTT ExtraLight"/>
                    <a:ea typeface="+mn-ea"/>
                    <a:cs typeface="+mn-cs"/>
                  </a:rPr>
                  <a:t>Tireless</a:t>
                </a:r>
                <a:endParaRPr lang="en-US" sz="2100" dirty="0">
                  <a:solidFill>
                    <a:srgbClr val="262626"/>
                  </a:solidFill>
                  <a:effectLst>
                    <a:outerShdw blurRad="127000" dist="127000" dir="8100000" algn="tl" rotWithShape="0">
                      <a:srgbClr val="000000">
                        <a:alpha val="61000"/>
                      </a:srgbClr>
                    </a:outerShdw>
                  </a:effectLst>
                  <a:latin typeface="CiscoSansTT ExtraLight"/>
                  <a:ea typeface="+mn-ea"/>
                  <a:cs typeface="+mn-cs"/>
                </a:endParaRPr>
              </a:p>
            </p:txBody>
          </p:sp>
        </p:grpSp>
      </p:grpSp>
      <p:grpSp>
        <p:nvGrpSpPr>
          <p:cNvPr id="94" name="Group 93">
            <a:extLst>
              <a:ext uri="{FF2B5EF4-FFF2-40B4-BE49-F238E27FC236}">
                <a16:creationId xmlns:a16="http://schemas.microsoft.com/office/drawing/2014/main" id="{C35D56FA-A9A9-BC40-B6D2-0A5905A3500B}"/>
              </a:ext>
            </a:extLst>
          </p:cNvPr>
          <p:cNvGrpSpPr/>
          <p:nvPr>
            <p:custDataLst>
              <p:tags r:id="rId3"/>
            </p:custDataLst>
          </p:nvPr>
        </p:nvGrpSpPr>
        <p:grpSpPr>
          <a:xfrm>
            <a:off x="147227" y="1065620"/>
            <a:ext cx="4905480" cy="3162300"/>
            <a:chOff x="-134768" y="1447802"/>
            <a:chExt cx="6540640" cy="4216400"/>
          </a:xfrm>
        </p:grpSpPr>
        <p:sp>
          <p:nvSpPr>
            <p:cNvPr id="95" name="Oval 94">
              <a:extLst>
                <a:ext uri="{FF2B5EF4-FFF2-40B4-BE49-F238E27FC236}">
                  <a16:creationId xmlns:a16="http://schemas.microsoft.com/office/drawing/2014/main" id="{2852B62F-7458-AF45-8684-1C77534C2E70}"/>
                </a:ext>
              </a:extLst>
            </p:cNvPr>
            <p:cNvSpPr/>
            <p:nvPr>
              <p:custDataLst>
                <p:tags r:id="rId4"/>
              </p:custDataLst>
            </p:nvPr>
          </p:nvSpPr>
          <p:spPr>
            <a:xfrm>
              <a:off x="-134768" y="1447802"/>
              <a:ext cx="6540640" cy="4216400"/>
            </a:xfrm>
            <a:prstGeom prst="ellipse">
              <a:avLst/>
            </a:prstGeom>
            <a:gradFill flip="none" rotWithShape="1">
              <a:gsLst>
                <a:gs pos="46000">
                  <a:schemeClr val="bg1">
                    <a:lumMod val="50000"/>
                    <a:alpha val="23000"/>
                  </a:schemeClr>
                </a:gs>
                <a:gs pos="0">
                  <a:schemeClr val="bg1">
                    <a:lumMod val="50000"/>
                  </a:schemeClr>
                </a:gs>
                <a:gs pos="100000">
                  <a:srgbClr val="000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2100" dirty="0">
                <a:solidFill>
                  <a:prstClr val="white"/>
                </a:solidFill>
                <a:latin typeface="CiscoSansTT ExtraLight"/>
              </a:endParaRPr>
            </a:p>
          </p:txBody>
        </p:sp>
        <p:grpSp>
          <p:nvGrpSpPr>
            <p:cNvPr id="96" name="Group 95">
              <a:extLst>
                <a:ext uri="{FF2B5EF4-FFF2-40B4-BE49-F238E27FC236}">
                  <a16:creationId xmlns:a16="http://schemas.microsoft.com/office/drawing/2014/main" id="{748AFB06-9377-6542-8DC2-ED8119CB2EF0}"/>
                </a:ext>
              </a:extLst>
            </p:cNvPr>
            <p:cNvGrpSpPr/>
            <p:nvPr/>
          </p:nvGrpSpPr>
          <p:grpSpPr>
            <a:xfrm>
              <a:off x="752402" y="2805492"/>
              <a:ext cx="4641999" cy="1433486"/>
              <a:chOff x="1579717" y="2805492"/>
              <a:chExt cx="4641999" cy="1433486"/>
            </a:xfrm>
          </p:grpSpPr>
          <p:sp>
            <p:nvSpPr>
              <p:cNvPr id="97" name="TextBox 96">
                <a:extLst>
                  <a:ext uri="{FF2B5EF4-FFF2-40B4-BE49-F238E27FC236}">
                    <a16:creationId xmlns:a16="http://schemas.microsoft.com/office/drawing/2014/main" id="{4C35BD56-60B9-5347-83AB-D4BEDB6464F5}"/>
                  </a:ext>
                </a:extLst>
              </p:cNvPr>
              <p:cNvSpPr txBox="1"/>
              <p:nvPr/>
            </p:nvSpPr>
            <p:spPr>
              <a:xfrm>
                <a:off x="1584398" y="3438759"/>
                <a:ext cx="4637318" cy="800219"/>
              </a:xfrm>
              <a:prstGeom prst="rect">
                <a:avLst/>
              </a:prstGeom>
              <a:noFill/>
            </p:spPr>
            <p:txBody>
              <a:bodyPr wrap="square" rtlCol="0">
                <a:spAutoFit/>
              </a:bodyPr>
              <a:lstStyle/>
              <a:p>
                <a:pPr defTabSz="685783" fontAlgn="auto">
                  <a:spcBef>
                    <a:spcPts val="0"/>
                  </a:spcBef>
                  <a:spcAft>
                    <a:spcPts val="0"/>
                  </a:spcAft>
                </a:pPr>
                <a:r>
                  <a:rPr lang="en-US" sz="3300" b="1" dirty="0">
                    <a:solidFill>
                      <a:srgbClr val="FF0000"/>
                    </a:solidFill>
                    <a:latin typeface="CiscoSans ExtraLight" charset="0"/>
                    <a:ea typeface="CiscoSansTT Thin" charset="0"/>
                    <a:cs typeface="CiscoSansTT Thin" charset="0"/>
                  </a:rPr>
                  <a:t>ATTACKERS</a:t>
                </a:r>
              </a:p>
            </p:txBody>
          </p:sp>
          <p:sp>
            <p:nvSpPr>
              <p:cNvPr id="98" name="Rectangle 97">
                <a:extLst>
                  <a:ext uri="{FF2B5EF4-FFF2-40B4-BE49-F238E27FC236}">
                    <a16:creationId xmlns:a16="http://schemas.microsoft.com/office/drawing/2014/main" id="{E90715D9-FE49-6A45-80E6-02FC2DA6FBD3}"/>
                  </a:ext>
                </a:extLst>
              </p:cNvPr>
              <p:cNvSpPr/>
              <p:nvPr/>
            </p:nvSpPr>
            <p:spPr>
              <a:xfrm>
                <a:off x="1579717" y="2805492"/>
                <a:ext cx="2381422" cy="677108"/>
              </a:xfrm>
              <a:prstGeom prst="rect">
                <a:avLst/>
              </a:prstGeom>
              <a:effectLst/>
            </p:spPr>
            <p:txBody>
              <a:bodyPr wrap="none">
                <a:spAutoFit/>
              </a:bodyPr>
              <a:lstStyle/>
              <a:p>
                <a:pPr defTabSz="685783" fontAlgn="auto">
                  <a:spcBef>
                    <a:spcPts val="0"/>
                  </a:spcBef>
                  <a:spcAft>
                    <a:spcPts val="0"/>
                  </a:spcAft>
                </a:pPr>
                <a:r>
                  <a:rPr lang="en-US" sz="2700" b="1" dirty="0">
                    <a:ln w="6350">
                      <a:noFill/>
                    </a:ln>
                    <a:solidFill>
                      <a:srgbClr val="E3241B"/>
                    </a:solidFill>
                    <a:effectLst>
                      <a:outerShdw blurRad="127000" dist="127000" dir="8100000" algn="tl" rotWithShape="0">
                        <a:prstClr val="black">
                          <a:alpha val="61000"/>
                        </a:prstClr>
                      </a:outerShdw>
                    </a:effectLst>
                    <a:latin typeface="CiscoSansTT ExtraLight"/>
                    <a:ea typeface="+mn-ea"/>
                    <a:cs typeface="+mn-cs"/>
                  </a:rPr>
                  <a:t>Relentless</a:t>
                </a:r>
              </a:p>
            </p:txBody>
          </p:sp>
        </p:grpSp>
      </p:grpSp>
      <p:grpSp>
        <p:nvGrpSpPr>
          <p:cNvPr id="99" name="Group 98">
            <a:extLst>
              <a:ext uri="{FF2B5EF4-FFF2-40B4-BE49-F238E27FC236}">
                <a16:creationId xmlns:a16="http://schemas.microsoft.com/office/drawing/2014/main" id="{404A0204-3E35-C746-8375-69E2150A70D7}"/>
              </a:ext>
            </a:extLst>
          </p:cNvPr>
          <p:cNvGrpSpPr/>
          <p:nvPr/>
        </p:nvGrpSpPr>
        <p:grpSpPr>
          <a:xfrm>
            <a:off x="5421347" y="2352319"/>
            <a:ext cx="841929" cy="104927"/>
            <a:chOff x="6562726" y="3281504"/>
            <a:chExt cx="2672714" cy="333092"/>
          </a:xfrm>
        </p:grpSpPr>
        <p:cxnSp>
          <p:nvCxnSpPr>
            <p:cNvPr id="100" name="Straight Connector 99">
              <a:extLst>
                <a:ext uri="{FF2B5EF4-FFF2-40B4-BE49-F238E27FC236}">
                  <a16:creationId xmlns:a16="http://schemas.microsoft.com/office/drawing/2014/main" id="{C6238B06-BBB4-134A-A5B7-645EA834071D}"/>
                </a:ext>
              </a:extLst>
            </p:cNvPr>
            <p:cNvCxnSpPr>
              <a:cxnSpLocks/>
            </p:cNvCxnSpPr>
            <p:nvPr/>
          </p:nvCxnSpPr>
          <p:spPr>
            <a:xfrm>
              <a:off x="6824979" y="3439160"/>
              <a:ext cx="2410461" cy="0"/>
            </a:xfrm>
            <a:prstGeom prst="line">
              <a:avLst/>
            </a:prstGeom>
            <a:ln w="12700">
              <a:gradFill flip="none" rotWithShape="1">
                <a:gsLst>
                  <a:gs pos="0">
                    <a:srgbClr val="369ED9"/>
                  </a:gs>
                  <a:gs pos="67240">
                    <a:srgbClr val="369ED9">
                      <a:alpha val="0"/>
                    </a:srgbClr>
                  </a:gs>
                  <a:gs pos="100000">
                    <a:srgbClr val="369ED9">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Freeform 5">
              <a:extLst>
                <a:ext uri="{FF2B5EF4-FFF2-40B4-BE49-F238E27FC236}">
                  <a16:creationId xmlns:a16="http://schemas.microsoft.com/office/drawing/2014/main" id="{B0D77B8B-6932-314B-880C-FB6201F14832}"/>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rgbClr val="369ED9"/>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02" name="Group 101">
            <a:extLst>
              <a:ext uri="{FF2B5EF4-FFF2-40B4-BE49-F238E27FC236}">
                <a16:creationId xmlns:a16="http://schemas.microsoft.com/office/drawing/2014/main" id="{3F79E67B-DF86-1148-9091-9BB4CF191214}"/>
              </a:ext>
            </a:extLst>
          </p:cNvPr>
          <p:cNvGrpSpPr/>
          <p:nvPr/>
        </p:nvGrpSpPr>
        <p:grpSpPr>
          <a:xfrm>
            <a:off x="6567152" y="3074308"/>
            <a:ext cx="543847" cy="67778"/>
            <a:chOff x="6562726" y="3281504"/>
            <a:chExt cx="2672714" cy="333092"/>
          </a:xfrm>
        </p:grpSpPr>
        <p:cxnSp>
          <p:nvCxnSpPr>
            <p:cNvPr id="103" name="Straight Connector 102">
              <a:extLst>
                <a:ext uri="{FF2B5EF4-FFF2-40B4-BE49-F238E27FC236}">
                  <a16:creationId xmlns:a16="http://schemas.microsoft.com/office/drawing/2014/main" id="{B8ACEBD1-CEE4-464F-A152-608276645A89}"/>
                </a:ext>
              </a:extLst>
            </p:cNvPr>
            <p:cNvCxnSpPr>
              <a:cxnSpLocks/>
            </p:cNvCxnSpPr>
            <p:nvPr/>
          </p:nvCxnSpPr>
          <p:spPr>
            <a:xfrm>
              <a:off x="6824978" y="3439160"/>
              <a:ext cx="2410462" cy="0"/>
            </a:xfrm>
            <a:prstGeom prst="line">
              <a:avLst/>
            </a:prstGeom>
            <a:ln w="12700">
              <a:gradFill flip="none" rotWithShape="1">
                <a:gsLst>
                  <a:gs pos="0">
                    <a:srgbClr val="369ED9"/>
                  </a:gs>
                  <a:gs pos="67240">
                    <a:srgbClr val="369ED9">
                      <a:alpha val="0"/>
                    </a:srgbClr>
                  </a:gs>
                  <a:gs pos="100000">
                    <a:srgbClr val="369ED9">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4" name="Freeform 5">
              <a:extLst>
                <a:ext uri="{FF2B5EF4-FFF2-40B4-BE49-F238E27FC236}">
                  <a16:creationId xmlns:a16="http://schemas.microsoft.com/office/drawing/2014/main" id="{955B29F2-EE72-2B46-B68E-4F0A7FDA198A}"/>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rgbClr val="369ED9"/>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05" name="Group 104">
            <a:extLst>
              <a:ext uri="{FF2B5EF4-FFF2-40B4-BE49-F238E27FC236}">
                <a16:creationId xmlns:a16="http://schemas.microsoft.com/office/drawing/2014/main" id="{604117EF-FC32-4041-B0DE-D509F0D2D544}"/>
              </a:ext>
            </a:extLst>
          </p:cNvPr>
          <p:cNvGrpSpPr/>
          <p:nvPr/>
        </p:nvGrpSpPr>
        <p:grpSpPr>
          <a:xfrm>
            <a:off x="6074268" y="2127849"/>
            <a:ext cx="572728" cy="71378"/>
            <a:chOff x="6562726" y="3281504"/>
            <a:chExt cx="2672714" cy="333092"/>
          </a:xfrm>
        </p:grpSpPr>
        <p:cxnSp>
          <p:nvCxnSpPr>
            <p:cNvPr id="106" name="Straight Connector 105">
              <a:extLst>
                <a:ext uri="{FF2B5EF4-FFF2-40B4-BE49-F238E27FC236}">
                  <a16:creationId xmlns:a16="http://schemas.microsoft.com/office/drawing/2014/main" id="{3CDB721F-0996-7944-B168-184219CA1E92}"/>
                </a:ext>
              </a:extLst>
            </p:cNvPr>
            <p:cNvCxnSpPr>
              <a:cxnSpLocks/>
            </p:cNvCxnSpPr>
            <p:nvPr/>
          </p:nvCxnSpPr>
          <p:spPr>
            <a:xfrm>
              <a:off x="6824981" y="3439160"/>
              <a:ext cx="2410459" cy="0"/>
            </a:xfrm>
            <a:prstGeom prst="line">
              <a:avLst/>
            </a:prstGeom>
            <a:ln w="12700">
              <a:gradFill flip="none" rotWithShape="1">
                <a:gsLst>
                  <a:gs pos="0">
                    <a:srgbClr val="369ED9"/>
                  </a:gs>
                  <a:gs pos="67240">
                    <a:srgbClr val="369ED9">
                      <a:alpha val="0"/>
                    </a:srgbClr>
                  </a:gs>
                  <a:gs pos="100000">
                    <a:srgbClr val="369ED9">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7" name="Freeform 5">
              <a:extLst>
                <a:ext uri="{FF2B5EF4-FFF2-40B4-BE49-F238E27FC236}">
                  <a16:creationId xmlns:a16="http://schemas.microsoft.com/office/drawing/2014/main" id="{899FD87D-F8EE-3A47-8AC6-2A636CADF4F3}"/>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solidFill>
              <a:srgbClr val="369ED9"/>
            </a:solid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sp>
        <p:nvSpPr>
          <p:cNvPr id="108" name="Oval 107">
            <a:extLst>
              <a:ext uri="{FF2B5EF4-FFF2-40B4-BE49-F238E27FC236}">
                <a16:creationId xmlns:a16="http://schemas.microsoft.com/office/drawing/2014/main" id="{30349679-95E9-F949-8510-06CD3E7F7D9E}"/>
              </a:ext>
            </a:extLst>
          </p:cNvPr>
          <p:cNvSpPr/>
          <p:nvPr/>
        </p:nvSpPr>
        <p:spPr>
          <a:xfrm>
            <a:off x="6389915" y="3243943"/>
            <a:ext cx="54864" cy="54864"/>
          </a:xfrm>
          <a:prstGeom prst="ellipse">
            <a:avLst/>
          </a:prstGeom>
          <a:gradFill>
            <a:gsLst>
              <a:gs pos="0">
                <a:schemeClr val="accent2">
                  <a:alpha val="31000"/>
                </a:schemeClr>
              </a:gs>
              <a:gs pos="34500">
                <a:srgbClr val="03688E">
                  <a:alpha val="17000"/>
                </a:srgbClr>
              </a:gs>
              <a:gs pos="100000">
                <a:srgbClr val="000000">
                  <a:alpha val="0"/>
                </a:srgb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350" dirty="0">
              <a:solidFill>
                <a:prstClr val="white"/>
              </a:solidFill>
              <a:latin typeface="CiscoSansTT ExtraLight"/>
            </a:endParaRPr>
          </a:p>
        </p:txBody>
      </p:sp>
      <p:grpSp>
        <p:nvGrpSpPr>
          <p:cNvPr id="109" name="Group 108">
            <a:extLst>
              <a:ext uri="{FF2B5EF4-FFF2-40B4-BE49-F238E27FC236}">
                <a16:creationId xmlns:a16="http://schemas.microsoft.com/office/drawing/2014/main" id="{8F29E84B-AA74-C642-89E1-0F28C74EC5E0}"/>
              </a:ext>
            </a:extLst>
          </p:cNvPr>
          <p:cNvGrpSpPr/>
          <p:nvPr/>
        </p:nvGrpSpPr>
        <p:grpSpPr>
          <a:xfrm flipH="1">
            <a:off x="1229761" y="1390294"/>
            <a:ext cx="823205" cy="104927"/>
            <a:chOff x="6562726" y="3281504"/>
            <a:chExt cx="2613273" cy="333092"/>
          </a:xfrm>
          <a:solidFill>
            <a:schemeClr val="accent6"/>
          </a:solidFill>
        </p:grpSpPr>
        <p:cxnSp>
          <p:nvCxnSpPr>
            <p:cNvPr id="110" name="Straight Connector 109">
              <a:extLst>
                <a:ext uri="{FF2B5EF4-FFF2-40B4-BE49-F238E27FC236}">
                  <a16:creationId xmlns:a16="http://schemas.microsoft.com/office/drawing/2014/main" id="{0BFB285B-18E9-DC43-98D6-C15D78B809B5}"/>
                </a:ext>
              </a:extLst>
            </p:cNvPr>
            <p:cNvCxnSpPr>
              <a:cxnSpLocks/>
            </p:cNvCxnSpPr>
            <p:nvPr/>
          </p:nvCxnSpPr>
          <p:spPr>
            <a:xfrm>
              <a:off x="6824973" y="3439161"/>
              <a:ext cx="2351026"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1" name="Freeform 5">
              <a:extLst>
                <a:ext uri="{FF2B5EF4-FFF2-40B4-BE49-F238E27FC236}">
                  <a16:creationId xmlns:a16="http://schemas.microsoft.com/office/drawing/2014/main" id="{E1326553-E0B2-E746-91DA-7405C198697D}"/>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12" name="Group 111">
            <a:extLst>
              <a:ext uri="{FF2B5EF4-FFF2-40B4-BE49-F238E27FC236}">
                <a16:creationId xmlns:a16="http://schemas.microsoft.com/office/drawing/2014/main" id="{B23F25C4-F1C3-DD49-8170-1E3783310884}"/>
              </a:ext>
            </a:extLst>
          </p:cNvPr>
          <p:cNvGrpSpPr/>
          <p:nvPr/>
        </p:nvGrpSpPr>
        <p:grpSpPr>
          <a:xfrm flipH="1">
            <a:off x="-822240" y="876302"/>
            <a:ext cx="1937700" cy="161361"/>
            <a:chOff x="6562726" y="3281504"/>
            <a:chExt cx="3999912" cy="333092"/>
          </a:xfrm>
          <a:solidFill>
            <a:schemeClr val="accent6"/>
          </a:solidFill>
        </p:grpSpPr>
        <p:cxnSp>
          <p:nvCxnSpPr>
            <p:cNvPr id="113" name="Straight Connector 112">
              <a:extLst>
                <a:ext uri="{FF2B5EF4-FFF2-40B4-BE49-F238E27FC236}">
                  <a16:creationId xmlns:a16="http://schemas.microsoft.com/office/drawing/2014/main" id="{89952845-6457-D944-A97D-0D69A2372168}"/>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4" name="Freeform 5">
              <a:extLst>
                <a:ext uri="{FF2B5EF4-FFF2-40B4-BE49-F238E27FC236}">
                  <a16:creationId xmlns:a16="http://schemas.microsoft.com/office/drawing/2014/main" id="{1AC1139D-B004-F443-A143-4A03B7D9EC33}"/>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15" name="Group 114">
            <a:extLst>
              <a:ext uri="{FF2B5EF4-FFF2-40B4-BE49-F238E27FC236}">
                <a16:creationId xmlns:a16="http://schemas.microsoft.com/office/drawing/2014/main" id="{397406A1-E372-9247-8180-F44B1DD26568}"/>
              </a:ext>
            </a:extLst>
          </p:cNvPr>
          <p:cNvGrpSpPr/>
          <p:nvPr/>
        </p:nvGrpSpPr>
        <p:grpSpPr>
          <a:xfrm flipH="1">
            <a:off x="-92551" y="1666877"/>
            <a:ext cx="684136" cy="161361"/>
            <a:chOff x="6562726" y="3281504"/>
            <a:chExt cx="1412232" cy="333092"/>
          </a:xfrm>
          <a:solidFill>
            <a:schemeClr val="accent6"/>
          </a:solidFill>
        </p:grpSpPr>
        <p:cxnSp>
          <p:nvCxnSpPr>
            <p:cNvPr id="116" name="Straight Connector 115">
              <a:extLst>
                <a:ext uri="{FF2B5EF4-FFF2-40B4-BE49-F238E27FC236}">
                  <a16:creationId xmlns:a16="http://schemas.microsoft.com/office/drawing/2014/main" id="{6D201EB7-8774-D743-9D66-927531F00795}"/>
                </a:ext>
              </a:extLst>
            </p:cNvPr>
            <p:cNvCxnSpPr>
              <a:cxnSpLocks/>
            </p:cNvCxnSpPr>
            <p:nvPr/>
          </p:nvCxnSpPr>
          <p:spPr>
            <a:xfrm>
              <a:off x="6824974" y="3439160"/>
              <a:ext cx="1149984"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7" name="Freeform 5">
              <a:extLst>
                <a:ext uri="{FF2B5EF4-FFF2-40B4-BE49-F238E27FC236}">
                  <a16:creationId xmlns:a16="http://schemas.microsoft.com/office/drawing/2014/main" id="{1B59235C-0858-204A-B4A4-692BB0895DAF}"/>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18" name="Group 117">
            <a:extLst>
              <a:ext uri="{FF2B5EF4-FFF2-40B4-BE49-F238E27FC236}">
                <a16:creationId xmlns:a16="http://schemas.microsoft.com/office/drawing/2014/main" id="{A16D9D33-6710-BE49-AE29-ACA48474DBE2}"/>
              </a:ext>
            </a:extLst>
          </p:cNvPr>
          <p:cNvGrpSpPr/>
          <p:nvPr/>
        </p:nvGrpSpPr>
        <p:grpSpPr>
          <a:xfrm flipH="1">
            <a:off x="38100" y="3562352"/>
            <a:ext cx="1191660" cy="161361"/>
            <a:chOff x="6562726" y="3281504"/>
            <a:chExt cx="2459893" cy="333092"/>
          </a:xfrm>
          <a:solidFill>
            <a:schemeClr val="accent6"/>
          </a:solidFill>
        </p:grpSpPr>
        <p:cxnSp>
          <p:nvCxnSpPr>
            <p:cNvPr id="119" name="Straight Connector 118">
              <a:extLst>
                <a:ext uri="{FF2B5EF4-FFF2-40B4-BE49-F238E27FC236}">
                  <a16:creationId xmlns:a16="http://schemas.microsoft.com/office/drawing/2014/main" id="{757E7EA7-7520-BE4D-9EFF-4AD1779ED177}"/>
                </a:ext>
              </a:extLst>
            </p:cNvPr>
            <p:cNvCxnSpPr>
              <a:cxnSpLocks/>
            </p:cNvCxnSpPr>
            <p:nvPr/>
          </p:nvCxnSpPr>
          <p:spPr>
            <a:xfrm>
              <a:off x="6824974" y="3439160"/>
              <a:ext cx="2197645"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0" name="Freeform 5">
              <a:extLst>
                <a:ext uri="{FF2B5EF4-FFF2-40B4-BE49-F238E27FC236}">
                  <a16:creationId xmlns:a16="http://schemas.microsoft.com/office/drawing/2014/main" id="{90B020FA-C87F-BA4C-B36F-028CC1DAA318}"/>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21" name="Group 120">
            <a:extLst>
              <a:ext uri="{FF2B5EF4-FFF2-40B4-BE49-F238E27FC236}">
                <a16:creationId xmlns:a16="http://schemas.microsoft.com/office/drawing/2014/main" id="{E9F20569-6B82-5241-AB32-E1F5F27EE98E}"/>
              </a:ext>
            </a:extLst>
          </p:cNvPr>
          <p:cNvGrpSpPr/>
          <p:nvPr/>
        </p:nvGrpSpPr>
        <p:grpSpPr>
          <a:xfrm flipH="1">
            <a:off x="-802236" y="2272840"/>
            <a:ext cx="1260008" cy="104927"/>
            <a:chOff x="6562726" y="3281504"/>
            <a:chExt cx="3999912" cy="333092"/>
          </a:xfrm>
          <a:solidFill>
            <a:schemeClr val="accent6"/>
          </a:solidFill>
        </p:grpSpPr>
        <p:cxnSp>
          <p:nvCxnSpPr>
            <p:cNvPr id="122" name="Straight Connector 121">
              <a:extLst>
                <a:ext uri="{FF2B5EF4-FFF2-40B4-BE49-F238E27FC236}">
                  <a16:creationId xmlns:a16="http://schemas.microsoft.com/office/drawing/2014/main" id="{79D856CA-AFBE-DE41-A969-24D111C70988}"/>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3" name="Freeform 5">
              <a:extLst>
                <a:ext uri="{FF2B5EF4-FFF2-40B4-BE49-F238E27FC236}">
                  <a16:creationId xmlns:a16="http://schemas.microsoft.com/office/drawing/2014/main" id="{8A23C9BA-88CE-ED4D-BAE9-1011736BE79A}"/>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24" name="Group 123">
            <a:extLst>
              <a:ext uri="{FF2B5EF4-FFF2-40B4-BE49-F238E27FC236}">
                <a16:creationId xmlns:a16="http://schemas.microsoft.com/office/drawing/2014/main" id="{986DDA03-84A4-C34B-9E3E-F6D2798037A7}"/>
              </a:ext>
            </a:extLst>
          </p:cNvPr>
          <p:cNvGrpSpPr/>
          <p:nvPr/>
        </p:nvGrpSpPr>
        <p:grpSpPr>
          <a:xfrm flipH="1">
            <a:off x="1116808" y="3885844"/>
            <a:ext cx="1260008" cy="104927"/>
            <a:chOff x="6562726" y="3281504"/>
            <a:chExt cx="3999912" cy="333092"/>
          </a:xfrm>
          <a:solidFill>
            <a:schemeClr val="accent6"/>
          </a:solidFill>
        </p:grpSpPr>
        <p:cxnSp>
          <p:nvCxnSpPr>
            <p:cNvPr id="125" name="Straight Connector 124">
              <a:extLst>
                <a:ext uri="{FF2B5EF4-FFF2-40B4-BE49-F238E27FC236}">
                  <a16:creationId xmlns:a16="http://schemas.microsoft.com/office/drawing/2014/main" id="{B775EFC4-75AE-314A-926B-5CA15FA770A4}"/>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a:effectLst/>
          </p:spPr>
          <p:style>
            <a:lnRef idx="1">
              <a:schemeClr val="accent1"/>
            </a:lnRef>
            <a:fillRef idx="0">
              <a:schemeClr val="accent1"/>
            </a:fillRef>
            <a:effectRef idx="0">
              <a:schemeClr val="accent1"/>
            </a:effectRef>
            <a:fontRef idx="minor">
              <a:schemeClr val="tx1"/>
            </a:fontRef>
          </p:style>
        </p:cxnSp>
        <p:sp>
          <p:nvSpPr>
            <p:cNvPr id="126" name="Freeform 5">
              <a:extLst>
                <a:ext uri="{FF2B5EF4-FFF2-40B4-BE49-F238E27FC236}">
                  <a16:creationId xmlns:a16="http://schemas.microsoft.com/office/drawing/2014/main" id="{6FD31679-9B73-CF4D-9032-8B4B89970206}"/>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27" name="Group 126">
            <a:extLst>
              <a:ext uri="{FF2B5EF4-FFF2-40B4-BE49-F238E27FC236}">
                <a16:creationId xmlns:a16="http://schemas.microsoft.com/office/drawing/2014/main" id="{F2505791-73B1-6B43-8CC2-2E5F07B6C074}"/>
              </a:ext>
            </a:extLst>
          </p:cNvPr>
          <p:cNvGrpSpPr/>
          <p:nvPr/>
        </p:nvGrpSpPr>
        <p:grpSpPr>
          <a:xfrm flipH="1">
            <a:off x="873919" y="694969"/>
            <a:ext cx="1260008" cy="104927"/>
            <a:chOff x="6562726" y="3281504"/>
            <a:chExt cx="3999912" cy="333092"/>
          </a:xfrm>
          <a:solidFill>
            <a:schemeClr val="accent6"/>
          </a:solidFill>
        </p:grpSpPr>
        <p:cxnSp>
          <p:nvCxnSpPr>
            <p:cNvPr id="128" name="Straight Connector 127">
              <a:extLst>
                <a:ext uri="{FF2B5EF4-FFF2-40B4-BE49-F238E27FC236}">
                  <a16:creationId xmlns:a16="http://schemas.microsoft.com/office/drawing/2014/main" id="{43669959-E056-2446-AE4B-6D698A1DA996}"/>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9" name="Freeform 5">
              <a:extLst>
                <a:ext uri="{FF2B5EF4-FFF2-40B4-BE49-F238E27FC236}">
                  <a16:creationId xmlns:a16="http://schemas.microsoft.com/office/drawing/2014/main" id="{AEC124A6-BA77-574E-8D28-131C952A7421}"/>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30" name="Group 129">
            <a:extLst>
              <a:ext uri="{FF2B5EF4-FFF2-40B4-BE49-F238E27FC236}">
                <a16:creationId xmlns:a16="http://schemas.microsoft.com/office/drawing/2014/main" id="{99320B60-96F1-1A46-87C3-23291DBCCC47}"/>
              </a:ext>
            </a:extLst>
          </p:cNvPr>
          <p:cNvGrpSpPr/>
          <p:nvPr/>
        </p:nvGrpSpPr>
        <p:grpSpPr>
          <a:xfrm flipH="1">
            <a:off x="0" y="218719"/>
            <a:ext cx="630004" cy="104927"/>
            <a:chOff x="6562726" y="3281504"/>
            <a:chExt cx="1999955" cy="333092"/>
          </a:xfrm>
          <a:solidFill>
            <a:schemeClr val="accent6"/>
          </a:solidFill>
        </p:grpSpPr>
        <p:cxnSp>
          <p:nvCxnSpPr>
            <p:cNvPr id="131" name="Straight Connector 130">
              <a:extLst>
                <a:ext uri="{FF2B5EF4-FFF2-40B4-BE49-F238E27FC236}">
                  <a16:creationId xmlns:a16="http://schemas.microsoft.com/office/drawing/2014/main" id="{D59FFE0B-1981-3A4F-8947-278535661D9C}"/>
                </a:ext>
              </a:extLst>
            </p:cNvPr>
            <p:cNvCxnSpPr>
              <a:cxnSpLocks/>
            </p:cNvCxnSpPr>
            <p:nvPr/>
          </p:nvCxnSpPr>
          <p:spPr>
            <a:xfrm>
              <a:off x="6824973" y="3439161"/>
              <a:ext cx="1737708"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2" name="Freeform 5">
              <a:extLst>
                <a:ext uri="{FF2B5EF4-FFF2-40B4-BE49-F238E27FC236}">
                  <a16:creationId xmlns:a16="http://schemas.microsoft.com/office/drawing/2014/main" id="{E46957A3-6981-C241-B5E8-924CA96B18FB}"/>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33" name="Group 132">
            <a:extLst>
              <a:ext uri="{FF2B5EF4-FFF2-40B4-BE49-F238E27FC236}">
                <a16:creationId xmlns:a16="http://schemas.microsoft.com/office/drawing/2014/main" id="{8650045C-ED48-CA49-A9C6-41B5A06C300D}"/>
              </a:ext>
            </a:extLst>
          </p:cNvPr>
          <p:cNvGrpSpPr/>
          <p:nvPr/>
        </p:nvGrpSpPr>
        <p:grpSpPr>
          <a:xfrm flipH="1">
            <a:off x="981649" y="4567238"/>
            <a:ext cx="956053" cy="161361"/>
            <a:chOff x="6562726" y="3281504"/>
            <a:chExt cx="1973539" cy="333092"/>
          </a:xfrm>
          <a:solidFill>
            <a:schemeClr val="accent6"/>
          </a:solidFill>
        </p:grpSpPr>
        <p:cxnSp>
          <p:nvCxnSpPr>
            <p:cNvPr id="134" name="Straight Connector 133">
              <a:extLst>
                <a:ext uri="{FF2B5EF4-FFF2-40B4-BE49-F238E27FC236}">
                  <a16:creationId xmlns:a16="http://schemas.microsoft.com/office/drawing/2014/main" id="{0DC68D1F-7AD1-0443-8BA7-56A2B3EFF85F}"/>
                </a:ext>
              </a:extLst>
            </p:cNvPr>
            <p:cNvCxnSpPr>
              <a:cxnSpLocks/>
            </p:cNvCxnSpPr>
            <p:nvPr/>
          </p:nvCxnSpPr>
          <p:spPr>
            <a:xfrm>
              <a:off x="6824974" y="3439160"/>
              <a:ext cx="1711291"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5" name="Freeform 5">
              <a:extLst>
                <a:ext uri="{FF2B5EF4-FFF2-40B4-BE49-F238E27FC236}">
                  <a16:creationId xmlns:a16="http://schemas.microsoft.com/office/drawing/2014/main" id="{02803542-9144-2945-BC3A-52568A226BEB}"/>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36" name="Group 135">
            <a:extLst>
              <a:ext uri="{FF2B5EF4-FFF2-40B4-BE49-F238E27FC236}">
                <a16:creationId xmlns:a16="http://schemas.microsoft.com/office/drawing/2014/main" id="{86608839-83F9-3243-97A9-D2A9AAA4E550}"/>
              </a:ext>
            </a:extLst>
          </p:cNvPr>
          <p:cNvGrpSpPr/>
          <p:nvPr/>
        </p:nvGrpSpPr>
        <p:grpSpPr>
          <a:xfrm flipH="1">
            <a:off x="-147151" y="4693973"/>
            <a:ext cx="666185" cy="161361"/>
            <a:chOff x="6562726" y="3281504"/>
            <a:chExt cx="1375176" cy="333092"/>
          </a:xfrm>
          <a:solidFill>
            <a:schemeClr val="accent6"/>
          </a:solidFill>
        </p:grpSpPr>
        <p:cxnSp>
          <p:nvCxnSpPr>
            <p:cNvPr id="137" name="Straight Connector 136">
              <a:extLst>
                <a:ext uri="{FF2B5EF4-FFF2-40B4-BE49-F238E27FC236}">
                  <a16:creationId xmlns:a16="http://schemas.microsoft.com/office/drawing/2014/main" id="{A900B7FB-97BF-D44F-9357-EBD99A5112DC}"/>
                </a:ext>
              </a:extLst>
            </p:cNvPr>
            <p:cNvCxnSpPr>
              <a:cxnSpLocks/>
            </p:cNvCxnSpPr>
            <p:nvPr/>
          </p:nvCxnSpPr>
          <p:spPr>
            <a:xfrm>
              <a:off x="6824974" y="3439160"/>
              <a:ext cx="1112928"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38" name="Freeform 5">
              <a:extLst>
                <a:ext uri="{FF2B5EF4-FFF2-40B4-BE49-F238E27FC236}">
                  <a16:creationId xmlns:a16="http://schemas.microsoft.com/office/drawing/2014/main" id="{4639A4F8-57CB-5E47-A8E3-E65180BE7187}"/>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39" name="Group 138">
            <a:extLst>
              <a:ext uri="{FF2B5EF4-FFF2-40B4-BE49-F238E27FC236}">
                <a16:creationId xmlns:a16="http://schemas.microsoft.com/office/drawing/2014/main" id="{CFC442B2-2A6F-E044-B920-A6FB687C0301}"/>
              </a:ext>
            </a:extLst>
          </p:cNvPr>
          <p:cNvGrpSpPr/>
          <p:nvPr/>
        </p:nvGrpSpPr>
        <p:grpSpPr>
          <a:xfrm flipH="1">
            <a:off x="542991" y="4248152"/>
            <a:ext cx="1020144" cy="161361"/>
            <a:chOff x="6562726" y="3281504"/>
            <a:chExt cx="2105840" cy="333092"/>
          </a:xfrm>
          <a:solidFill>
            <a:schemeClr val="accent6"/>
          </a:solidFill>
        </p:grpSpPr>
        <p:cxnSp>
          <p:nvCxnSpPr>
            <p:cNvPr id="140" name="Straight Connector 139">
              <a:extLst>
                <a:ext uri="{FF2B5EF4-FFF2-40B4-BE49-F238E27FC236}">
                  <a16:creationId xmlns:a16="http://schemas.microsoft.com/office/drawing/2014/main" id="{14CA33B3-4BD4-7142-835E-FA2C5E6BFADC}"/>
                </a:ext>
              </a:extLst>
            </p:cNvPr>
            <p:cNvCxnSpPr>
              <a:cxnSpLocks/>
            </p:cNvCxnSpPr>
            <p:nvPr/>
          </p:nvCxnSpPr>
          <p:spPr>
            <a:xfrm>
              <a:off x="6824974" y="3439160"/>
              <a:ext cx="184359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1" name="Freeform 5">
              <a:extLst>
                <a:ext uri="{FF2B5EF4-FFF2-40B4-BE49-F238E27FC236}">
                  <a16:creationId xmlns:a16="http://schemas.microsoft.com/office/drawing/2014/main" id="{F5220770-D00E-FD4A-8B55-ED1203C1A3DF}"/>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42" name="Group 141">
            <a:extLst>
              <a:ext uri="{FF2B5EF4-FFF2-40B4-BE49-F238E27FC236}">
                <a16:creationId xmlns:a16="http://schemas.microsoft.com/office/drawing/2014/main" id="{CB6050E1-CB78-E142-98FF-69806A79A9F3}"/>
              </a:ext>
            </a:extLst>
          </p:cNvPr>
          <p:cNvGrpSpPr/>
          <p:nvPr/>
        </p:nvGrpSpPr>
        <p:grpSpPr>
          <a:xfrm flipH="1">
            <a:off x="-92551" y="4057652"/>
            <a:ext cx="244950" cy="71956"/>
            <a:chOff x="6562726" y="3281504"/>
            <a:chExt cx="1133904" cy="333092"/>
          </a:xfrm>
          <a:solidFill>
            <a:schemeClr val="accent6"/>
          </a:solidFill>
        </p:grpSpPr>
        <p:cxnSp>
          <p:nvCxnSpPr>
            <p:cNvPr id="143" name="Straight Connector 142">
              <a:extLst>
                <a:ext uri="{FF2B5EF4-FFF2-40B4-BE49-F238E27FC236}">
                  <a16:creationId xmlns:a16="http://schemas.microsoft.com/office/drawing/2014/main" id="{A2B570DC-F5C8-4E42-9488-A6D18ED8BF82}"/>
                </a:ext>
              </a:extLst>
            </p:cNvPr>
            <p:cNvCxnSpPr>
              <a:cxnSpLocks/>
            </p:cNvCxnSpPr>
            <p:nvPr/>
          </p:nvCxnSpPr>
          <p:spPr>
            <a:xfrm>
              <a:off x="6824975" y="3439160"/>
              <a:ext cx="871655"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4" name="Freeform 5">
              <a:extLst>
                <a:ext uri="{FF2B5EF4-FFF2-40B4-BE49-F238E27FC236}">
                  <a16:creationId xmlns:a16="http://schemas.microsoft.com/office/drawing/2014/main" id="{71102D95-91A4-284E-8E0F-1E99EF226F41}"/>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45" name="Group 144">
            <a:extLst>
              <a:ext uri="{FF2B5EF4-FFF2-40B4-BE49-F238E27FC236}">
                <a16:creationId xmlns:a16="http://schemas.microsoft.com/office/drawing/2014/main" id="{E28BD564-424E-B54D-950E-9EBA2D845275}"/>
              </a:ext>
            </a:extLst>
          </p:cNvPr>
          <p:cNvGrpSpPr/>
          <p:nvPr/>
        </p:nvGrpSpPr>
        <p:grpSpPr>
          <a:xfrm flipH="1">
            <a:off x="736126" y="3419477"/>
            <a:ext cx="864075" cy="71956"/>
            <a:chOff x="6562726" y="3281504"/>
            <a:chExt cx="3999912" cy="333092"/>
          </a:xfrm>
          <a:solidFill>
            <a:schemeClr val="accent6"/>
          </a:solidFill>
        </p:grpSpPr>
        <p:cxnSp>
          <p:nvCxnSpPr>
            <p:cNvPr id="146" name="Straight Connector 145">
              <a:extLst>
                <a:ext uri="{FF2B5EF4-FFF2-40B4-BE49-F238E27FC236}">
                  <a16:creationId xmlns:a16="http://schemas.microsoft.com/office/drawing/2014/main" id="{B47E5F92-58DC-A049-8CF1-7266E881D7A9}"/>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47" name="Freeform 5">
              <a:extLst>
                <a:ext uri="{FF2B5EF4-FFF2-40B4-BE49-F238E27FC236}">
                  <a16:creationId xmlns:a16="http://schemas.microsoft.com/office/drawing/2014/main" id="{09364207-DA9D-8342-B454-B87C7582BA2A}"/>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48" name="Group 147">
            <a:extLst>
              <a:ext uri="{FF2B5EF4-FFF2-40B4-BE49-F238E27FC236}">
                <a16:creationId xmlns:a16="http://schemas.microsoft.com/office/drawing/2014/main" id="{0EA00550-F687-F94B-8330-D98BDD015EE2}"/>
              </a:ext>
            </a:extLst>
          </p:cNvPr>
          <p:cNvGrpSpPr/>
          <p:nvPr/>
        </p:nvGrpSpPr>
        <p:grpSpPr>
          <a:xfrm flipH="1">
            <a:off x="-692624" y="3019427"/>
            <a:ext cx="864075" cy="71956"/>
            <a:chOff x="6562726" y="3281504"/>
            <a:chExt cx="3999912" cy="333092"/>
          </a:xfrm>
          <a:solidFill>
            <a:schemeClr val="accent6"/>
          </a:solidFill>
        </p:grpSpPr>
        <p:cxnSp>
          <p:nvCxnSpPr>
            <p:cNvPr id="149" name="Straight Connector 148">
              <a:extLst>
                <a:ext uri="{FF2B5EF4-FFF2-40B4-BE49-F238E27FC236}">
                  <a16:creationId xmlns:a16="http://schemas.microsoft.com/office/drawing/2014/main" id="{86AD5038-B1E6-7540-8CA3-E09D327D1E8F}"/>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0" name="Freeform 5">
              <a:extLst>
                <a:ext uri="{FF2B5EF4-FFF2-40B4-BE49-F238E27FC236}">
                  <a16:creationId xmlns:a16="http://schemas.microsoft.com/office/drawing/2014/main" id="{D11B63DD-39F4-A24D-BA97-A48DE85D0A83}"/>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51" name="Group 150">
            <a:extLst>
              <a:ext uri="{FF2B5EF4-FFF2-40B4-BE49-F238E27FC236}">
                <a16:creationId xmlns:a16="http://schemas.microsoft.com/office/drawing/2014/main" id="{8C2B2C71-A430-BA4C-83E5-FE11D66689FA}"/>
              </a:ext>
            </a:extLst>
          </p:cNvPr>
          <p:cNvGrpSpPr/>
          <p:nvPr/>
        </p:nvGrpSpPr>
        <p:grpSpPr>
          <a:xfrm flipH="1">
            <a:off x="630005" y="1314452"/>
            <a:ext cx="465371" cy="71956"/>
            <a:chOff x="6562726" y="3281504"/>
            <a:chExt cx="2154262" cy="333092"/>
          </a:xfrm>
          <a:solidFill>
            <a:schemeClr val="accent6"/>
          </a:solidFill>
        </p:grpSpPr>
        <p:cxnSp>
          <p:nvCxnSpPr>
            <p:cNvPr id="152" name="Straight Connector 151">
              <a:extLst>
                <a:ext uri="{FF2B5EF4-FFF2-40B4-BE49-F238E27FC236}">
                  <a16:creationId xmlns:a16="http://schemas.microsoft.com/office/drawing/2014/main" id="{B40CBDDF-74D2-E14D-9342-E1EFE3A6C0AB}"/>
                </a:ext>
              </a:extLst>
            </p:cNvPr>
            <p:cNvCxnSpPr>
              <a:cxnSpLocks/>
            </p:cNvCxnSpPr>
            <p:nvPr/>
          </p:nvCxnSpPr>
          <p:spPr>
            <a:xfrm>
              <a:off x="6824975" y="3439160"/>
              <a:ext cx="1892013"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3" name="Freeform 5">
              <a:extLst>
                <a:ext uri="{FF2B5EF4-FFF2-40B4-BE49-F238E27FC236}">
                  <a16:creationId xmlns:a16="http://schemas.microsoft.com/office/drawing/2014/main" id="{E066E6B6-5E08-EE47-A77F-C0376406AAFC}"/>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54" name="Group 153">
            <a:extLst>
              <a:ext uri="{FF2B5EF4-FFF2-40B4-BE49-F238E27FC236}">
                <a16:creationId xmlns:a16="http://schemas.microsoft.com/office/drawing/2014/main" id="{6338039C-BB55-D743-B245-E8695EC7DC27}"/>
              </a:ext>
            </a:extLst>
          </p:cNvPr>
          <p:cNvGrpSpPr/>
          <p:nvPr/>
        </p:nvGrpSpPr>
        <p:grpSpPr>
          <a:xfrm flipH="1">
            <a:off x="-28326" y="790577"/>
            <a:ext cx="371226" cy="71956"/>
            <a:chOff x="6562726" y="3281504"/>
            <a:chExt cx="1718452" cy="333092"/>
          </a:xfrm>
          <a:solidFill>
            <a:schemeClr val="accent6"/>
          </a:solidFill>
        </p:grpSpPr>
        <p:cxnSp>
          <p:nvCxnSpPr>
            <p:cNvPr id="155" name="Straight Connector 154">
              <a:extLst>
                <a:ext uri="{FF2B5EF4-FFF2-40B4-BE49-F238E27FC236}">
                  <a16:creationId xmlns:a16="http://schemas.microsoft.com/office/drawing/2014/main" id="{7EBB0CAD-D25E-9B49-BBDD-953A87E6046B}"/>
                </a:ext>
              </a:extLst>
            </p:cNvPr>
            <p:cNvCxnSpPr>
              <a:cxnSpLocks/>
            </p:cNvCxnSpPr>
            <p:nvPr/>
          </p:nvCxnSpPr>
          <p:spPr>
            <a:xfrm>
              <a:off x="6824975" y="3439160"/>
              <a:ext cx="1456203"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6" name="Freeform 5">
              <a:extLst>
                <a:ext uri="{FF2B5EF4-FFF2-40B4-BE49-F238E27FC236}">
                  <a16:creationId xmlns:a16="http://schemas.microsoft.com/office/drawing/2014/main" id="{472BD955-F63D-9543-841E-5A0F0FFCFCAD}"/>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57" name="Group 156">
            <a:extLst>
              <a:ext uri="{FF2B5EF4-FFF2-40B4-BE49-F238E27FC236}">
                <a16:creationId xmlns:a16="http://schemas.microsoft.com/office/drawing/2014/main" id="{A7D1CE39-CACF-6C49-A54E-44C5C1F8FD39}"/>
              </a:ext>
            </a:extLst>
          </p:cNvPr>
          <p:cNvGrpSpPr/>
          <p:nvPr/>
        </p:nvGrpSpPr>
        <p:grpSpPr>
          <a:xfrm flipH="1">
            <a:off x="717076" y="504827"/>
            <a:ext cx="864075" cy="71956"/>
            <a:chOff x="6562726" y="3281504"/>
            <a:chExt cx="3999912" cy="333092"/>
          </a:xfrm>
          <a:solidFill>
            <a:schemeClr val="accent6"/>
          </a:solidFill>
        </p:grpSpPr>
        <p:cxnSp>
          <p:nvCxnSpPr>
            <p:cNvPr id="158" name="Straight Connector 157">
              <a:extLst>
                <a:ext uri="{FF2B5EF4-FFF2-40B4-BE49-F238E27FC236}">
                  <a16:creationId xmlns:a16="http://schemas.microsoft.com/office/drawing/2014/main" id="{44982322-9E4A-F74D-9021-6290CA388B1E}"/>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9" name="Freeform 5">
              <a:extLst>
                <a:ext uri="{FF2B5EF4-FFF2-40B4-BE49-F238E27FC236}">
                  <a16:creationId xmlns:a16="http://schemas.microsoft.com/office/drawing/2014/main" id="{2664848A-68DC-2246-A775-FC0D94B4A3DB}"/>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60" name="Group 159">
            <a:extLst>
              <a:ext uri="{FF2B5EF4-FFF2-40B4-BE49-F238E27FC236}">
                <a16:creationId xmlns:a16="http://schemas.microsoft.com/office/drawing/2014/main" id="{F1CFBAC7-3167-0440-A156-64E6E021571C}"/>
              </a:ext>
            </a:extLst>
          </p:cNvPr>
          <p:cNvGrpSpPr/>
          <p:nvPr/>
        </p:nvGrpSpPr>
        <p:grpSpPr>
          <a:xfrm flipH="1">
            <a:off x="1145701" y="4000502"/>
            <a:ext cx="864075" cy="71956"/>
            <a:chOff x="6562726" y="3281504"/>
            <a:chExt cx="3999912" cy="333092"/>
          </a:xfrm>
          <a:solidFill>
            <a:schemeClr val="accent6"/>
          </a:solidFill>
        </p:grpSpPr>
        <p:cxnSp>
          <p:nvCxnSpPr>
            <p:cNvPr id="161" name="Straight Connector 160">
              <a:extLst>
                <a:ext uri="{FF2B5EF4-FFF2-40B4-BE49-F238E27FC236}">
                  <a16:creationId xmlns:a16="http://schemas.microsoft.com/office/drawing/2014/main" id="{FF15D76A-4159-8D44-B536-1680E6F3EB48}"/>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2" name="Freeform 5">
              <a:extLst>
                <a:ext uri="{FF2B5EF4-FFF2-40B4-BE49-F238E27FC236}">
                  <a16:creationId xmlns:a16="http://schemas.microsoft.com/office/drawing/2014/main" id="{444DA082-6C3B-994B-AAFB-0A300ED8A021}"/>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63" name="Group 162">
            <a:extLst>
              <a:ext uri="{FF2B5EF4-FFF2-40B4-BE49-F238E27FC236}">
                <a16:creationId xmlns:a16="http://schemas.microsoft.com/office/drawing/2014/main" id="{CBC4318F-04BC-0145-9A02-499779380D9C}"/>
              </a:ext>
            </a:extLst>
          </p:cNvPr>
          <p:cNvGrpSpPr/>
          <p:nvPr/>
        </p:nvGrpSpPr>
        <p:grpSpPr>
          <a:xfrm flipH="1">
            <a:off x="905329" y="1962152"/>
            <a:ext cx="628196" cy="71956"/>
            <a:chOff x="6562726" y="3281504"/>
            <a:chExt cx="2907998" cy="333092"/>
          </a:xfrm>
          <a:solidFill>
            <a:schemeClr val="accent6"/>
          </a:solidFill>
        </p:grpSpPr>
        <p:cxnSp>
          <p:nvCxnSpPr>
            <p:cNvPr id="164" name="Straight Connector 163">
              <a:extLst>
                <a:ext uri="{FF2B5EF4-FFF2-40B4-BE49-F238E27FC236}">
                  <a16:creationId xmlns:a16="http://schemas.microsoft.com/office/drawing/2014/main" id="{2A595060-7195-9A4B-AB42-55267680D594}"/>
                </a:ext>
              </a:extLst>
            </p:cNvPr>
            <p:cNvCxnSpPr>
              <a:cxnSpLocks/>
            </p:cNvCxnSpPr>
            <p:nvPr/>
          </p:nvCxnSpPr>
          <p:spPr>
            <a:xfrm flipV="1">
              <a:off x="6824975" y="3434966"/>
              <a:ext cx="2645749" cy="4194"/>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5" name="Freeform 5">
              <a:extLst>
                <a:ext uri="{FF2B5EF4-FFF2-40B4-BE49-F238E27FC236}">
                  <a16:creationId xmlns:a16="http://schemas.microsoft.com/office/drawing/2014/main" id="{54828C28-789C-0F42-BD69-B3CA96E878DE}"/>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66" name="Group 165">
            <a:extLst>
              <a:ext uri="{FF2B5EF4-FFF2-40B4-BE49-F238E27FC236}">
                <a16:creationId xmlns:a16="http://schemas.microsoft.com/office/drawing/2014/main" id="{1BA9E39A-2C63-E343-B551-8DA7932A9E68}"/>
              </a:ext>
            </a:extLst>
          </p:cNvPr>
          <p:cNvGrpSpPr/>
          <p:nvPr/>
        </p:nvGrpSpPr>
        <p:grpSpPr>
          <a:xfrm flipH="1">
            <a:off x="1917226" y="2362202"/>
            <a:ext cx="864075" cy="71956"/>
            <a:chOff x="6562726" y="3281504"/>
            <a:chExt cx="3999912" cy="333092"/>
          </a:xfrm>
          <a:solidFill>
            <a:schemeClr val="accent6"/>
          </a:solidFill>
        </p:grpSpPr>
        <p:cxnSp>
          <p:nvCxnSpPr>
            <p:cNvPr id="167" name="Straight Connector 166">
              <a:extLst>
                <a:ext uri="{FF2B5EF4-FFF2-40B4-BE49-F238E27FC236}">
                  <a16:creationId xmlns:a16="http://schemas.microsoft.com/office/drawing/2014/main" id="{82D87CF2-E975-C14D-AA97-EFEE936B5679}"/>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68" name="Freeform 5">
              <a:extLst>
                <a:ext uri="{FF2B5EF4-FFF2-40B4-BE49-F238E27FC236}">
                  <a16:creationId xmlns:a16="http://schemas.microsoft.com/office/drawing/2014/main" id="{7F63B12D-597D-8043-9D34-154AB8526565}"/>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69" name="Group 168">
            <a:extLst>
              <a:ext uri="{FF2B5EF4-FFF2-40B4-BE49-F238E27FC236}">
                <a16:creationId xmlns:a16="http://schemas.microsoft.com/office/drawing/2014/main" id="{296D0B1A-7DBB-204B-8B4A-B54F4D5F7CC2}"/>
              </a:ext>
            </a:extLst>
          </p:cNvPr>
          <p:cNvGrpSpPr/>
          <p:nvPr/>
        </p:nvGrpSpPr>
        <p:grpSpPr>
          <a:xfrm flipH="1">
            <a:off x="1304926" y="3125430"/>
            <a:ext cx="864075" cy="71956"/>
            <a:chOff x="6562726" y="3281504"/>
            <a:chExt cx="3999912" cy="333092"/>
          </a:xfrm>
          <a:solidFill>
            <a:schemeClr val="accent6"/>
          </a:solidFill>
        </p:grpSpPr>
        <p:cxnSp>
          <p:nvCxnSpPr>
            <p:cNvPr id="170" name="Straight Connector 169">
              <a:extLst>
                <a:ext uri="{FF2B5EF4-FFF2-40B4-BE49-F238E27FC236}">
                  <a16:creationId xmlns:a16="http://schemas.microsoft.com/office/drawing/2014/main" id="{BA8D4FD6-5A58-6C45-8A9E-A785FA526876}"/>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1" name="Freeform 5">
              <a:extLst>
                <a:ext uri="{FF2B5EF4-FFF2-40B4-BE49-F238E27FC236}">
                  <a16:creationId xmlns:a16="http://schemas.microsoft.com/office/drawing/2014/main" id="{FF32348F-BD84-7147-BD43-6CE520255A37}"/>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72" name="Group 171">
            <a:extLst>
              <a:ext uri="{FF2B5EF4-FFF2-40B4-BE49-F238E27FC236}">
                <a16:creationId xmlns:a16="http://schemas.microsoft.com/office/drawing/2014/main" id="{0587942C-E5DC-C54C-950E-BEBA0F6C5437}"/>
              </a:ext>
            </a:extLst>
          </p:cNvPr>
          <p:cNvGrpSpPr/>
          <p:nvPr/>
        </p:nvGrpSpPr>
        <p:grpSpPr>
          <a:xfrm flipH="1">
            <a:off x="38105" y="2628902"/>
            <a:ext cx="410609" cy="161361"/>
            <a:chOff x="6562726" y="3281504"/>
            <a:chExt cx="847604" cy="333092"/>
          </a:xfrm>
          <a:solidFill>
            <a:schemeClr val="accent6"/>
          </a:solidFill>
        </p:grpSpPr>
        <p:cxnSp>
          <p:nvCxnSpPr>
            <p:cNvPr id="173" name="Straight Connector 172">
              <a:extLst>
                <a:ext uri="{FF2B5EF4-FFF2-40B4-BE49-F238E27FC236}">
                  <a16:creationId xmlns:a16="http://schemas.microsoft.com/office/drawing/2014/main" id="{AD2F85F1-94B9-1A4E-85B1-95252AD5894A}"/>
                </a:ext>
              </a:extLst>
            </p:cNvPr>
            <p:cNvCxnSpPr>
              <a:cxnSpLocks/>
            </p:cNvCxnSpPr>
            <p:nvPr/>
          </p:nvCxnSpPr>
          <p:spPr>
            <a:xfrm>
              <a:off x="6824974" y="3439160"/>
              <a:ext cx="585356"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4" name="Freeform 5">
              <a:extLst>
                <a:ext uri="{FF2B5EF4-FFF2-40B4-BE49-F238E27FC236}">
                  <a16:creationId xmlns:a16="http://schemas.microsoft.com/office/drawing/2014/main" id="{9C2DB637-2BE3-3A40-934E-501AD02AA9C3}"/>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75" name="Group 174">
            <a:extLst>
              <a:ext uri="{FF2B5EF4-FFF2-40B4-BE49-F238E27FC236}">
                <a16:creationId xmlns:a16="http://schemas.microsoft.com/office/drawing/2014/main" id="{DF8B9AD6-35D1-8140-9FA3-DEE68E9E0912}"/>
              </a:ext>
            </a:extLst>
          </p:cNvPr>
          <p:cNvGrpSpPr/>
          <p:nvPr/>
        </p:nvGrpSpPr>
        <p:grpSpPr>
          <a:xfrm flipH="1">
            <a:off x="83088" y="3333394"/>
            <a:ext cx="445877" cy="104927"/>
            <a:chOff x="6562726" y="3281504"/>
            <a:chExt cx="1415440" cy="333092"/>
          </a:xfrm>
          <a:solidFill>
            <a:schemeClr val="accent6"/>
          </a:solidFill>
        </p:grpSpPr>
        <p:cxnSp>
          <p:nvCxnSpPr>
            <p:cNvPr id="176" name="Straight Connector 175">
              <a:extLst>
                <a:ext uri="{FF2B5EF4-FFF2-40B4-BE49-F238E27FC236}">
                  <a16:creationId xmlns:a16="http://schemas.microsoft.com/office/drawing/2014/main" id="{411C940C-95F1-ED4F-BE79-95FB24E22E04}"/>
                </a:ext>
              </a:extLst>
            </p:cNvPr>
            <p:cNvCxnSpPr>
              <a:cxnSpLocks/>
            </p:cNvCxnSpPr>
            <p:nvPr/>
          </p:nvCxnSpPr>
          <p:spPr>
            <a:xfrm>
              <a:off x="6824973" y="3439161"/>
              <a:ext cx="1153193"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77" name="Freeform 5">
              <a:extLst>
                <a:ext uri="{FF2B5EF4-FFF2-40B4-BE49-F238E27FC236}">
                  <a16:creationId xmlns:a16="http://schemas.microsoft.com/office/drawing/2014/main" id="{EFB0E466-3E41-8F44-BF3D-61E7B802BC44}"/>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78" name="Group 177">
            <a:extLst>
              <a:ext uri="{FF2B5EF4-FFF2-40B4-BE49-F238E27FC236}">
                <a16:creationId xmlns:a16="http://schemas.microsoft.com/office/drawing/2014/main" id="{CC3DA5ED-CCD8-C247-B385-B1D0C4B7830D}"/>
              </a:ext>
            </a:extLst>
          </p:cNvPr>
          <p:cNvGrpSpPr/>
          <p:nvPr/>
        </p:nvGrpSpPr>
        <p:grpSpPr>
          <a:xfrm flipH="1">
            <a:off x="-92549" y="4467227"/>
            <a:ext cx="864075" cy="71956"/>
            <a:chOff x="6562726" y="3281504"/>
            <a:chExt cx="3999912" cy="333092"/>
          </a:xfrm>
          <a:solidFill>
            <a:schemeClr val="accent6"/>
          </a:solidFill>
        </p:grpSpPr>
        <p:cxnSp>
          <p:nvCxnSpPr>
            <p:cNvPr id="179" name="Straight Connector 178">
              <a:extLst>
                <a:ext uri="{FF2B5EF4-FFF2-40B4-BE49-F238E27FC236}">
                  <a16:creationId xmlns:a16="http://schemas.microsoft.com/office/drawing/2014/main" id="{1556EA18-B00A-CC42-BDB1-FE279624D545}"/>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0" name="Freeform 5">
              <a:extLst>
                <a:ext uri="{FF2B5EF4-FFF2-40B4-BE49-F238E27FC236}">
                  <a16:creationId xmlns:a16="http://schemas.microsoft.com/office/drawing/2014/main" id="{CE177057-8FF6-B043-814E-642A2A0D3226}"/>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81" name="Group 180">
            <a:extLst>
              <a:ext uri="{FF2B5EF4-FFF2-40B4-BE49-F238E27FC236}">
                <a16:creationId xmlns:a16="http://schemas.microsoft.com/office/drawing/2014/main" id="{FE49BA82-D249-C544-B056-A6888369A06D}"/>
              </a:ext>
            </a:extLst>
          </p:cNvPr>
          <p:cNvGrpSpPr/>
          <p:nvPr/>
        </p:nvGrpSpPr>
        <p:grpSpPr>
          <a:xfrm flipH="1">
            <a:off x="38101" y="3810002"/>
            <a:ext cx="393938" cy="71956"/>
            <a:chOff x="6562726" y="3281504"/>
            <a:chExt cx="1823586" cy="333092"/>
          </a:xfrm>
          <a:solidFill>
            <a:schemeClr val="accent6"/>
          </a:solidFill>
        </p:grpSpPr>
        <p:cxnSp>
          <p:nvCxnSpPr>
            <p:cNvPr id="182" name="Straight Connector 181">
              <a:extLst>
                <a:ext uri="{FF2B5EF4-FFF2-40B4-BE49-F238E27FC236}">
                  <a16:creationId xmlns:a16="http://schemas.microsoft.com/office/drawing/2014/main" id="{3283872F-5B3F-D24F-9D10-16BBEF7B14F6}"/>
                </a:ext>
              </a:extLst>
            </p:cNvPr>
            <p:cNvCxnSpPr>
              <a:cxnSpLocks/>
            </p:cNvCxnSpPr>
            <p:nvPr/>
          </p:nvCxnSpPr>
          <p:spPr>
            <a:xfrm>
              <a:off x="6824975" y="3439160"/>
              <a:ext cx="1561337"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3" name="Freeform 5">
              <a:extLst>
                <a:ext uri="{FF2B5EF4-FFF2-40B4-BE49-F238E27FC236}">
                  <a16:creationId xmlns:a16="http://schemas.microsoft.com/office/drawing/2014/main" id="{0181791A-B73D-0342-8005-0383A0FDF045}"/>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84" name="Group 183">
            <a:extLst>
              <a:ext uri="{FF2B5EF4-FFF2-40B4-BE49-F238E27FC236}">
                <a16:creationId xmlns:a16="http://schemas.microsoft.com/office/drawing/2014/main" id="{863DB9C3-4488-1847-B942-DD9BD93BC7CA}"/>
              </a:ext>
            </a:extLst>
          </p:cNvPr>
          <p:cNvGrpSpPr/>
          <p:nvPr/>
        </p:nvGrpSpPr>
        <p:grpSpPr>
          <a:xfrm flipH="1">
            <a:off x="-279638" y="1952627"/>
            <a:ext cx="864075" cy="71956"/>
            <a:chOff x="6562726" y="3281504"/>
            <a:chExt cx="3999912" cy="333092"/>
          </a:xfrm>
          <a:solidFill>
            <a:schemeClr val="accent6"/>
          </a:solidFill>
        </p:grpSpPr>
        <p:cxnSp>
          <p:nvCxnSpPr>
            <p:cNvPr id="185" name="Straight Connector 184">
              <a:extLst>
                <a:ext uri="{FF2B5EF4-FFF2-40B4-BE49-F238E27FC236}">
                  <a16:creationId xmlns:a16="http://schemas.microsoft.com/office/drawing/2014/main" id="{E82A541E-BE0F-3346-A2F5-EE32DCB9E669}"/>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6" name="Freeform 5">
              <a:extLst>
                <a:ext uri="{FF2B5EF4-FFF2-40B4-BE49-F238E27FC236}">
                  <a16:creationId xmlns:a16="http://schemas.microsoft.com/office/drawing/2014/main" id="{D7735CD3-7C7A-984D-9B21-8E700A48778F}"/>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87" name="Group 186">
            <a:extLst>
              <a:ext uri="{FF2B5EF4-FFF2-40B4-BE49-F238E27FC236}">
                <a16:creationId xmlns:a16="http://schemas.microsoft.com/office/drawing/2014/main" id="{47702266-96D2-CE41-A906-5AAC4E9F759F}"/>
              </a:ext>
            </a:extLst>
          </p:cNvPr>
          <p:cNvGrpSpPr/>
          <p:nvPr/>
        </p:nvGrpSpPr>
        <p:grpSpPr>
          <a:xfrm flipH="1">
            <a:off x="-201386" y="1028702"/>
            <a:ext cx="376248" cy="71956"/>
            <a:chOff x="6562726" y="3281504"/>
            <a:chExt cx="1741699" cy="333092"/>
          </a:xfrm>
          <a:solidFill>
            <a:schemeClr val="accent6"/>
          </a:solidFill>
        </p:grpSpPr>
        <p:cxnSp>
          <p:nvCxnSpPr>
            <p:cNvPr id="188" name="Straight Connector 187">
              <a:extLst>
                <a:ext uri="{FF2B5EF4-FFF2-40B4-BE49-F238E27FC236}">
                  <a16:creationId xmlns:a16="http://schemas.microsoft.com/office/drawing/2014/main" id="{D73F9299-D62F-B34E-A833-A3CF7EE29BDA}"/>
                </a:ext>
              </a:extLst>
            </p:cNvPr>
            <p:cNvCxnSpPr>
              <a:cxnSpLocks/>
            </p:cNvCxnSpPr>
            <p:nvPr/>
          </p:nvCxnSpPr>
          <p:spPr>
            <a:xfrm>
              <a:off x="6824975" y="3439160"/>
              <a:ext cx="1479450"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9" name="Freeform 5">
              <a:extLst>
                <a:ext uri="{FF2B5EF4-FFF2-40B4-BE49-F238E27FC236}">
                  <a16:creationId xmlns:a16="http://schemas.microsoft.com/office/drawing/2014/main" id="{5BAFD5D5-612B-A348-9E82-D824414B7509}"/>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90" name="Group 189">
            <a:extLst>
              <a:ext uri="{FF2B5EF4-FFF2-40B4-BE49-F238E27FC236}">
                <a16:creationId xmlns:a16="http://schemas.microsoft.com/office/drawing/2014/main" id="{55BE0E11-B8F3-164C-BBFC-9BE87808A1A4}"/>
              </a:ext>
            </a:extLst>
          </p:cNvPr>
          <p:cNvGrpSpPr/>
          <p:nvPr/>
        </p:nvGrpSpPr>
        <p:grpSpPr>
          <a:xfrm flipH="1">
            <a:off x="129938" y="352427"/>
            <a:ext cx="864075" cy="71956"/>
            <a:chOff x="6562726" y="3281504"/>
            <a:chExt cx="3999912" cy="333092"/>
          </a:xfrm>
          <a:solidFill>
            <a:schemeClr val="accent6"/>
          </a:solidFill>
        </p:grpSpPr>
        <p:cxnSp>
          <p:nvCxnSpPr>
            <p:cNvPr id="191" name="Straight Connector 190">
              <a:extLst>
                <a:ext uri="{FF2B5EF4-FFF2-40B4-BE49-F238E27FC236}">
                  <a16:creationId xmlns:a16="http://schemas.microsoft.com/office/drawing/2014/main" id="{7119DA06-5905-284B-80BE-515F221B825A}"/>
                </a:ext>
              </a:extLst>
            </p:cNvPr>
            <p:cNvCxnSpPr>
              <a:cxnSpLocks/>
            </p:cNvCxnSpPr>
            <p:nvPr/>
          </p:nvCxnSpPr>
          <p:spPr>
            <a:xfrm>
              <a:off x="6824976" y="3439161"/>
              <a:ext cx="3737662" cy="0"/>
            </a:xfrm>
            <a:prstGeom prst="line">
              <a:avLst/>
            </a:prstGeom>
            <a:grpFill/>
            <a:ln w="12700">
              <a:gradFill flip="none" rotWithShape="1">
                <a:gsLst>
                  <a:gs pos="0">
                    <a:srgbClr val="ED4537"/>
                  </a:gs>
                  <a:gs pos="51000">
                    <a:srgbClr val="ED4537">
                      <a:alpha val="0"/>
                    </a:srgbClr>
                  </a:gs>
                  <a:gs pos="100000">
                    <a:srgbClr val="ED4537">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2" name="Freeform 5">
              <a:extLst>
                <a:ext uri="{FF2B5EF4-FFF2-40B4-BE49-F238E27FC236}">
                  <a16:creationId xmlns:a16="http://schemas.microsoft.com/office/drawing/2014/main" id="{FE31CC30-EFC1-1143-9A89-907738841A16}"/>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93" name="Group 192">
            <a:extLst>
              <a:ext uri="{FF2B5EF4-FFF2-40B4-BE49-F238E27FC236}">
                <a16:creationId xmlns:a16="http://schemas.microsoft.com/office/drawing/2014/main" id="{BFF1CC08-C401-9440-A3D9-6BCBDC9BB1FA}"/>
              </a:ext>
            </a:extLst>
          </p:cNvPr>
          <p:cNvGrpSpPr/>
          <p:nvPr/>
        </p:nvGrpSpPr>
        <p:grpSpPr>
          <a:xfrm flipH="1">
            <a:off x="-28327" y="0"/>
            <a:ext cx="460364" cy="71956"/>
            <a:chOff x="6562726" y="3281504"/>
            <a:chExt cx="2131080" cy="333092"/>
          </a:xfrm>
          <a:solidFill>
            <a:schemeClr val="accent6"/>
          </a:solidFill>
        </p:grpSpPr>
        <p:cxnSp>
          <p:nvCxnSpPr>
            <p:cNvPr id="194" name="Straight Connector 193">
              <a:extLst>
                <a:ext uri="{FF2B5EF4-FFF2-40B4-BE49-F238E27FC236}">
                  <a16:creationId xmlns:a16="http://schemas.microsoft.com/office/drawing/2014/main" id="{72167B80-7DF1-2644-A74F-D4206704DF0F}"/>
                </a:ext>
              </a:extLst>
            </p:cNvPr>
            <p:cNvCxnSpPr>
              <a:cxnSpLocks/>
            </p:cNvCxnSpPr>
            <p:nvPr/>
          </p:nvCxnSpPr>
          <p:spPr>
            <a:xfrm>
              <a:off x="6824975" y="3439160"/>
              <a:ext cx="1868831"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5" name="Freeform 5">
              <a:extLst>
                <a:ext uri="{FF2B5EF4-FFF2-40B4-BE49-F238E27FC236}">
                  <a16:creationId xmlns:a16="http://schemas.microsoft.com/office/drawing/2014/main" id="{08A5B56D-392E-3E44-88B4-7794D082B075}"/>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96" name="Group 195">
            <a:extLst>
              <a:ext uri="{FF2B5EF4-FFF2-40B4-BE49-F238E27FC236}">
                <a16:creationId xmlns:a16="http://schemas.microsoft.com/office/drawing/2014/main" id="{183D642E-6D12-DA4A-8FED-D405B6DF3BC4}"/>
              </a:ext>
            </a:extLst>
          </p:cNvPr>
          <p:cNvGrpSpPr/>
          <p:nvPr/>
        </p:nvGrpSpPr>
        <p:grpSpPr>
          <a:xfrm flipH="1">
            <a:off x="1863488" y="4695825"/>
            <a:ext cx="864075" cy="71956"/>
            <a:chOff x="6562726" y="3281504"/>
            <a:chExt cx="3999912" cy="333092"/>
          </a:xfrm>
          <a:solidFill>
            <a:schemeClr val="accent6"/>
          </a:solidFill>
        </p:grpSpPr>
        <p:cxnSp>
          <p:nvCxnSpPr>
            <p:cNvPr id="197" name="Straight Connector 196">
              <a:extLst>
                <a:ext uri="{FF2B5EF4-FFF2-40B4-BE49-F238E27FC236}">
                  <a16:creationId xmlns:a16="http://schemas.microsoft.com/office/drawing/2014/main" id="{805CC081-BCA5-AD4C-B9FC-D4B6F9367E10}"/>
                </a:ext>
              </a:extLst>
            </p:cNvPr>
            <p:cNvCxnSpPr>
              <a:cxnSpLocks/>
            </p:cNvCxnSpPr>
            <p:nvPr/>
          </p:nvCxnSpPr>
          <p:spPr>
            <a:xfrm>
              <a:off x="6824976" y="3439161"/>
              <a:ext cx="373766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8" name="Freeform 5">
              <a:extLst>
                <a:ext uri="{FF2B5EF4-FFF2-40B4-BE49-F238E27FC236}">
                  <a16:creationId xmlns:a16="http://schemas.microsoft.com/office/drawing/2014/main" id="{6F2CF877-4FD0-5544-B76B-054406C08374}"/>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27000">
                <a:srgbClr val="369ED9">
                  <a:alpha val="5000"/>
                </a:srgb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199" name="Group 198">
            <a:extLst>
              <a:ext uri="{FF2B5EF4-FFF2-40B4-BE49-F238E27FC236}">
                <a16:creationId xmlns:a16="http://schemas.microsoft.com/office/drawing/2014/main" id="{565CF649-4D05-1740-A9C0-353C98D9DD4E}"/>
              </a:ext>
            </a:extLst>
          </p:cNvPr>
          <p:cNvGrpSpPr/>
          <p:nvPr/>
        </p:nvGrpSpPr>
        <p:grpSpPr>
          <a:xfrm>
            <a:off x="3616687" y="1600201"/>
            <a:ext cx="1943100" cy="1943100"/>
            <a:chOff x="4822249" y="2133601"/>
            <a:chExt cx="2590800" cy="2590800"/>
          </a:xfrm>
        </p:grpSpPr>
        <p:pic>
          <p:nvPicPr>
            <p:cNvPr id="200" name="Picture 199">
              <a:extLst>
                <a:ext uri="{FF2B5EF4-FFF2-40B4-BE49-F238E27FC236}">
                  <a16:creationId xmlns:a16="http://schemas.microsoft.com/office/drawing/2014/main" id="{22A71D98-618A-0645-815A-FCFF211D461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822249" y="2133601"/>
              <a:ext cx="2590800" cy="2590800"/>
            </a:xfrm>
            <a:prstGeom prst="rect">
              <a:avLst/>
            </a:prstGeom>
          </p:spPr>
        </p:pic>
        <p:grpSp>
          <p:nvGrpSpPr>
            <p:cNvPr id="201" name="Group 200">
              <a:extLst>
                <a:ext uri="{FF2B5EF4-FFF2-40B4-BE49-F238E27FC236}">
                  <a16:creationId xmlns:a16="http://schemas.microsoft.com/office/drawing/2014/main" id="{870FAB72-6E5C-394C-AA2C-F94A87D1F9B9}"/>
                </a:ext>
              </a:extLst>
            </p:cNvPr>
            <p:cNvGrpSpPr/>
            <p:nvPr/>
          </p:nvGrpSpPr>
          <p:grpSpPr>
            <a:xfrm>
              <a:off x="5778497" y="3111500"/>
              <a:ext cx="635004" cy="635000"/>
              <a:chOff x="5776685" y="3109688"/>
              <a:chExt cx="638628" cy="638624"/>
            </a:xfrm>
          </p:grpSpPr>
          <p:sp>
            <p:nvSpPr>
              <p:cNvPr id="202" name="Oval 201">
                <a:extLst>
                  <a:ext uri="{FF2B5EF4-FFF2-40B4-BE49-F238E27FC236}">
                    <a16:creationId xmlns:a16="http://schemas.microsoft.com/office/drawing/2014/main" id="{B42EC449-01AC-4F4D-AF44-4D008A56F3A8}"/>
                  </a:ext>
                </a:extLst>
              </p:cNvPr>
              <p:cNvSpPr/>
              <p:nvPr/>
            </p:nvSpPr>
            <p:spPr>
              <a:xfrm>
                <a:off x="5776685" y="3109688"/>
                <a:ext cx="638628" cy="638624"/>
              </a:xfrm>
              <a:prstGeom prst="ellipse">
                <a:avLst/>
              </a:prstGeom>
              <a:gradFill flip="none" rotWithShape="1">
                <a:gsLst>
                  <a:gs pos="46000">
                    <a:schemeClr val="accent5"/>
                  </a:gs>
                  <a:gs pos="0">
                    <a:schemeClr val="accent5"/>
                  </a:gs>
                  <a:gs pos="100000">
                    <a:schemeClr val="tx1">
                      <a:lumMod val="50000"/>
                      <a:lumOff val="50000"/>
                    </a:schemeClr>
                  </a:gs>
                </a:gsLst>
                <a:lin ang="8100000" scaled="1"/>
                <a:tileRect/>
              </a:gradFill>
              <a:ln>
                <a:solidFill>
                  <a:schemeClr val="accent5"/>
                </a:solid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783" fontAlgn="auto">
                  <a:spcBef>
                    <a:spcPts val="0"/>
                  </a:spcBef>
                  <a:spcAft>
                    <a:spcPts val="0"/>
                  </a:spcAft>
                </a:pPr>
                <a:endParaRPr lang="en-US" dirty="0">
                  <a:solidFill>
                    <a:srgbClr val="262626"/>
                  </a:solidFill>
                  <a:latin typeface="CiscoSansTT ExtraLight"/>
                </a:endParaRPr>
              </a:p>
            </p:txBody>
          </p:sp>
          <p:sp>
            <p:nvSpPr>
              <p:cNvPr id="203" name="Rectangle 202">
                <a:extLst>
                  <a:ext uri="{FF2B5EF4-FFF2-40B4-BE49-F238E27FC236}">
                    <a16:creationId xmlns:a16="http://schemas.microsoft.com/office/drawing/2014/main" id="{70C0B9DD-3147-0E4B-81E2-6F3544A4C8EF}"/>
                  </a:ext>
                </a:extLst>
              </p:cNvPr>
              <p:cNvSpPr/>
              <p:nvPr/>
            </p:nvSpPr>
            <p:spPr>
              <a:xfrm>
                <a:off x="5843215" y="3201379"/>
                <a:ext cx="505572" cy="433346"/>
              </a:xfrm>
              <a:prstGeom prst="rect">
                <a:avLst/>
              </a:prstGeom>
            </p:spPr>
            <p:txBody>
              <a:bodyPr wrap="none" anchor="ctr">
                <a:spAutoFit/>
              </a:bodyPr>
              <a:lstStyle/>
              <a:p>
                <a:pPr algn="ctr" defTabSz="685783" fontAlgn="auto">
                  <a:spcBef>
                    <a:spcPts val="0"/>
                  </a:spcBef>
                  <a:spcAft>
                    <a:spcPts val="0"/>
                  </a:spcAft>
                </a:pPr>
                <a:r>
                  <a:rPr lang="en-US" sz="1500" b="1" dirty="0">
                    <a:solidFill>
                      <a:srgbClr val="FFFFFF"/>
                    </a:solidFill>
                    <a:latin typeface="CiscoSansTT ExtraLight"/>
                    <a:ea typeface="+mn-ea"/>
                    <a:cs typeface="+mn-cs"/>
                  </a:rPr>
                  <a:t>vs</a:t>
                </a:r>
              </a:p>
            </p:txBody>
          </p:sp>
        </p:grpSp>
      </p:grpSp>
      <p:grpSp>
        <p:nvGrpSpPr>
          <p:cNvPr id="204" name="Group 203">
            <a:extLst>
              <a:ext uri="{FF2B5EF4-FFF2-40B4-BE49-F238E27FC236}">
                <a16:creationId xmlns:a16="http://schemas.microsoft.com/office/drawing/2014/main" id="{70B2CA56-77E2-E749-A033-A6FF5BC243AC}"/>
              </a:ext>
            </a:extLst>
          </p:cNvPr>
          <p:cNvGrpSpPr/>
          <p:nvPr/>
        </p:nvGrpSpPr>
        <p:grpSpPr>
          <a:xfrm flipH="1">
            <a:off x="252740" y="4116162"/>
            <a:ext cx="509261" cy="71956"/>
            <a:chOff x="6562726" y="3281504"/>
            <a:chExt cx="2357431" cy="333092"/>
          </a:xfrm>
          <a:solidFill>
            <a:schemeClr val="accent6"/>
          </a:solidFill>
        </p:grpSpPr>
        <p:cxnSp>
          <p:nvCxnSpPr>
            <p:cNvPr id="205" name="Straight Connector 204">
              <a:extLst>
                <a:ext uri="{FF2B5EF4-FFF2-40B4-BE49-F238E27FC236}">
                  <a16:creationId xmlns:a16="http://schemas.microsoft.com/office/drawing/2014/main" id="{5D18EA02-7F5C-8246-9E81-40121B298C8F}"/>
                </a:ext>
              </a:extLst>
            </p:cNvPr>
            <p:cNvCxnSpPr>
              <a:cxnSpLocks/>
            </p:cNvCxnSpPr>
            <p:nvPr/>
          </p:nvCxnSpPr>
          <p:spPr>
            <a:xfrm>
              <a:off x="6824975" y="3439160"/>
              <a:ext cx="2095182"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6" name="Freeform 5">
              <a:extLst>
                <a:ext uri="{FF2B5EF4-FFF2-40B4-BE49-F238E27FC236}">
                  <a16:creationId xmlns:a16="http://schemas.microsoft.com/office/drawing/2014/main" id="{51DF73B7-3980-AE48-8DAB-7440F7274615}"/>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grpSp>
        <p:nvGrpSpPr>
          <p:cNvPr id="207" name="Group 206">
            <a:extLst>
              <a:ext uri="{FF2B5EF4-FFF2-40B4-BE49-F238E27FC236}">
                <a16:creationId xmlns:a16="http://schemas.microsoft.com/office/drawing/2014/main" id="{9823F5A1-2FDE-F645-9BE1-2BD6D0ECEF1A}"/>
              </a:ext>
            </a:extLst>
          </p:cNvPr>
          <p:cNvGrpSpPr/>
          <p:nvPr/>
        </p:nvGrpSpPr>
        <p:grpSpPr>
          <a:xfrm flipH="1">
            <a:off x="1" y="1405620"/>
            <a:ext cx="432038" cy="71956"/>
            <a:chOff x="6562726" y="3281504"/>
            <a:chExt cx="1999956" cy="333092"/>
          </a:xfrm>
          <a:solidFill>
            <a:schemeClr val="accent6"/>
          </a:solidFill>
        </p:grpSpPr>
        <p:cxnSp>
          <p:nvCxnSpPr>
            <p:cNvPr id="208" name="Straight Connector 207">
              <a:extLst>
                <a:ext uri="{FF2B5EF4-FFF2-40B4-BE49-F238E27FC236}">
                  <a16:creationId xmlns:a16="http://schemas.microsoft.com/office/drawing/2014/main" id="{06218491-8F63-5F43-ADD7-2DE90DBD2199}"/>
                </a:ext>
              </a:extLst>
            </p:cNvPr>
            <p:cNvCxnSpPr>
              <a:cxnSpLocks/>
            </p:cNvCxnSpPr>
            <p:nvPr/>
          </p:nvCxnSpPr>
          <p:spPr>
            <a:xfrm>
              <a:off x="6824975" y="3439160"/>
              <a:ext cx="1737707" cy="0"/>
            </a:xfrm>
            <a:prstGeom prst="line">
              <a:avLst/>
            </a:prstGeom>
            <a:grpFill/>
            <a:ln w="12700">
              <a:gradFill flip="none" rotWithShape="1">
                <a:gsLst>
                  <a:gs pos="0">
                    <a:srgbClr val="A73126"/>
                  </a:gs>
                  <a:gs pos="100000">
                    <a:srgbClr val="A73126">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9" name="Freeform 5">
              <a:extLst>
                <a:ext uri="{FF2B5EF4-FFF2-40B4-BE49-F238E27FC236}">
                  <a16:creationId xmlns:a16="http://schemas.microsoft.com/office/drawing/2014/main" id="{501DED66-9E35-CA46-A5ED-8019ADDC9944}"/>
                </a:ext>
              </a:extLst>
            </p:cNvPr>
            <p:cNvSpPr>
              <a:spLocks/>
            </p:cNvSpPr>
            <p:nvPr/>
          </p:nvSpPr>
          <p:spPr bwMode="auto">
            <a:xfrm>
              <a:off x="6562726" y="3281504"/>
              <a:ext cx="276224" cy="333092"/>
            </a:xfrm>
            <a:custGeom>
              <a:avLst/>
              <a:gdLst>
                <a:gd name="T0" fmla="*/ 2 w 31"/>
                <a:gd name="T1" fmla="*/ 21 h 38"/>
                <a:gd name="T2" fmla="*/ 26 w 31"/>
                <a:gd name="T3" fmla="*/ 36 h 38"/>
                <a:gd name="T4" fmla="*/ 31 w 31"/>
                <a:gd name="T5" fmla="*/ 34 h 38"/>
                <a:gd name="T6" fmla="*/ 31 w 31"/>
                <a:gd name="T7" fmla="*/ 4 h 38"/>
                <a:gd name="T8" fmla="*/ 26 w 31"/>
                <a:gd name="T9" fmla="*/ 1 h 38"/>
                <a:gd name="T10" fmla="*/ 2 w 31"/>
                <a:gd name="T11" fmla="*/ 16 h 38"/>
                <a:gd name="T12" fmla="*/ 2 w 31"/>
                <a:gd name="T13" fmla="*/ 21 h 38"/>
              </a:gdLst>
              <a:ahLst/>
              <a:cxnLst>
                <a:cxn ang="0">
                  <a:pos x="T0" y="T1"/>
                </a:cxn>
                <a:cxn ang="0">
                  <a:pos x="T2" y="T3"/>
                </a:cxn>
                <a:cxn ang="0">
                  <a:pos x="T4" y="T5"/>
                </a:cxn>
                <a:cxn ang="0">
                  <a:pos x="T6" y="T7"/>
                </a:cxn>
                <a:cxn ang="0">
                  <a:pos x="T8" y="T9"/>
                </a:cxn>
                <a:cxn ang="0">
                  <a:pos x="T10" y="T11"/>
                </a:cxn>
                <a:cxn ang="0">
                  <a:pos x="T12" y="T13"/>
                </a:cxn>
              </a:cxnLst>
              <a:rect l="0" t="0" r="r" b="b"/>
              <a:pathLst>
                <a:path w="31" h="38">
                  <a:moveTo>
                    <a:pt x="2" y="21"/>
                  </a:moveTo>
                  <a:cubicBezTo>
                    <a:pt x="26" y="36"/>
                    <a:pt x="26" y="36"/>
                    <a:pt x="26" y="36"/>
                  </a:cubicBezTo>
                  <a:cubicBezTo>
                    <a:pt x="28" y="38"/>
                    <a:pt x="31" y="36"/>
                    <a:pt x="31" y="34"/>
                  </a:cubicBezTo>
                  <a:cubicBezTo>
                    <a:pt x="31" y="4"/>
                    <a:pt x="31" y="4"/>
                    <a:pt x="31" y="4"/>
                  </a:cubicBezTo>
                  <a:cubicBezTo>
                    <a:pt x="31" y="1"/>
                    <a:pt x="28" y="0"/>
                    <a:pt x="26" y="1"/>
                  </a:cubicBezTo>
                  <a:cubicBezTo>
                    <a:pt x="2" y="16"/>
                    <a:pt x="2" y="16"/>
                    <a:pt x="2" y="16"/>
                  </a:cubicBezTo>
                  <a:cubicBezTo>
                    <a:pt x="0" y="17"/>
                    <a:pt x="0" y="20"/>
                    <a:pt x="2" y="21"/>
                  </a:cubicBezTo>
                  <a:close/>
                </a:path>
              </a:pathLst>
            </a:custGeom>
            <a:grpFill/>
            <a:ln>
              <a:noFill/>
            </a:ln>
            <a:effectLst>
              <a:glow rad="114300">
                <a:schemeClr val="tx1">
                  <a:lumMod val="90000"/>
                  <a:lumOff val="10000"/>
                  <a:alpha val="5000"/>
                </a:schemeClr>
              </a:glow>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fontAlgn="auto">
                <a:spcBef>
                  <a:spcPts val="0"/>
                </a:spcBef>
                <a:spcAft>
                  <a:spcPts val="0"/>
                </a:spcAft>
              </a:pPr>
              <a:endParaRPr lang="en-US" sz="1350" dirty="0">
                <a:solidFill>
                  <a:srgbClr val="262626"/>
                </a:solidFill>
                <a:latin typeface="CiscoSansTT ExtraLight"/>
                <a:ea typeface="+mn-ea"/>
                <a:cs typeface="+mn-cs"/>
              </a:endParaRPr>
            </a:p>
          </p:txBody>
        </p:sp>
      </p:grpSp>
    </p:spTree>
    <p:extLst>
      <p:ext uri="{BB962C8B-B14F-4D97-AF65-F5344CB8AC3E}">
        <p14:creationId xmlns:p14="http://schemas.microsoft.com/office/powerpoint/2010/main" val="208354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500"/>
                                        <p:tgtEl>
                                          <p:spTgt spid="121"/>
                                        </p:tgtEl>
                                      </p:cBhvr>
                                    </p:animEffect>
                                  </p:childTnLst>
                                </p:cTn>
                              </p:par>
                              <p:par>
                                <p:cTn id="8" presetID="35" presetClass="path" presetSubtype="0" decel="100000" fill="hold" nodeType="withEffect">
                                  <p:stCondLst>
                                    <p:cond delay="0"/>
                                  </p:stCondLst>
                                  <p:childTnLst>
                                    <p:animMotion origin="layout" path="M -3.95833E-6 -4.07407E-6 L -0.06914 -4.07407E-6 " pathEditMode="relative" rAng="0" ptsTypes="AA">
                                      <p:cBhvr>
                                        <p:cTn id="9" dur="1000" spd="-100000" fill="hold"/>
                                        <p:tgtEl>
                                          <p:spTgt spid="121"/>
                                        </p:tgtEl>
                                        <p:attrNameLst>
                                          <p:attrName>ppt_x</p:attrName>
                                          <p:attrName>ppt_y</p:attrName>
                                        </p:attrNameLst>
                                      </p:cBhvr>
                                      <p:rCtr x="-3451" y="0"/>
                                    </p:animMotion>
                                  </p:childTnLst>
                                </p:cTn>
                              </p:par>
                              <p:par>
                                <p:cTn id="10" presetID="10" presetClass="entr" presetSubtype="0" fill="hold" nodeType="withEffect">
                                  <p:stCondLst>
                                    <p:cond delay="50"/>
                                  </p:stCondLst>
                                  <p:childTnLst>
                                    <p:set>
                                      <p:cBhvr>
                                        <p:cTn id="11" dur="1" fill="hold">
                                          <p:stCondLst>
                                            <p:cond delay="0"/>
                                          </p:stCondLst>
                                        </p:cTn>
                                        <p:tgtEl>
                                          <p:spTgt spid="181"/>
                                        </p:tgtEl>
                                        <p:attrNameLst>
                                          <p:attrName>style.visibility</p:attrName>
                                        </p:attrNameLst>
                                      </p:cBhvr>
                                      <p:to>
                                        <p:strVal val="visible"/>
                                      </p:to>
                                    </p:set>
                                    <p:animEffect transition="in" filter="fade">
                                      <p:cBhvr>
                                        <p:cTn id="12" dur="500"/>
                                        <p:tgtEl>
                                          <p:spTgt spid="181"/>
                                        </p:tgtEl>
                                      </p:cBhvr>
                                    </p:animEffect>
                                  </p:childTnLst>
                                </p:cTn>
                              </p:par>
                              <p:par>
                                <p:cTn id="13" presetID="35" presetClass="path" presetSubtype="0" decel="100000" fill="hold" nodeType="withEffect">
                                  <p:stCondLst>
                                    <p:cond delay="50"/>
                                  </p:stCondLst>
                                  <p:childTnLst>
                                    <p:animMotion origin="layout" path="M -3.95833E-6 -4.07407E-6 L -0.06914 -4.07407E-6 " pathEditMode="relative" rAng="0" ptsTypes="AA">
                                      <p:cBhvr>
                                        <p:cTn id="14" dur="1000" spd="-100000" fill="hold"/>
                                        <p:tgtEl>
                                          <p:spTgt spid="181"/>
                                        </p:tgtEl>
                                        <p:attrNameLst>
                                          <p:attrName>ppt_x</p:attrName>
                                          <p:attrName>ppt_y</p:attrName>
                                        </p:attrNameLst>
                                      </p:cBhvr>
                                      <p:rCtr x="-3451" y="0"/>
                                    </p:animMotion>
                                  </p:childTnLst>
                                </p:cTn>
                              </p:par>
                              <p:par>
                                <p:cTn id="15" presetID="10" presetClass="entr" presetSubtype="0" fill="hold" nodeType="withEffect">
                                  <p:stCondLst>
                                    <p:cond delay="100"/>
                                  </p:stCondLst>
                                  <p:childTnLst>
                                    <p:set>
                                      <p:cBhvr>
                                        <p:cTn id="16" dur="1" fill="hold">
                                          <p:stCondLst>
                                            <p:cond delay="0"/>
                                          </p:stCondLst>
                                        </p:cTn>
                                        <p:tgtEl>
                                          <p:spTgt spid="115"/>
                                        </p:tgtEl>
                                        <p:attrNameLst>
                                          <p:attrName>style.visibility</p:attrName>
                                        </p:attrNameLst>
                                      </p:cBhvr>
                                      <p:to>
                                        <p:strVal val="visible"/>
                                      </p:to>
                                    </p:set>
                                    <p:animEffect transition="in" filter="fade">
                                      <p:cBhvr>
                                        <p:cTn id="17" dur="500"/>
                                        <p:tgtEl>
                                          <p:spTgt spid="115"/>
                                        </p:tgtEl>
                                      </p:cBhvr>
                                    </p:animEffect>
                                  </p:childTnLst>
                                </p:cTn>
                              </p:par>
                              <p:par>
                                <p:cTn id="18" presetID="35" presetClass="path" presetSubtype="0" decel="100000" fill="hold" nodeType="withEffect">
                                  <p:stCondLst>
                                    <p:cond delay="100"/>
                                  </p:stCondLst>
                                  <p:childTnLst>
                                    <p:animMotion origin="layout" path="M -3.95833E-6 -4.07407E-6 L -0.06914 -4.07407E-6 " pathEditMode="relative" rAng="0" ptsTypes="AA">
                                      <p:cBhvr>
                                        <p:cTn id="19" dur="1000" spd="-100000" fill="hold"/>
                                        <p:tgtEl>
                                          <p:spTgt spid="115"/>
                                        </p:tgtEl>
                                        <p:attrNameLst>
                                          <p:attrName>ppt_x</p:attrName>
                                          <p:attrName>ppt_y</p:attrName>
                                        </p:attrNameLst>
                                      </p:cBhvr>
                                      <p:rCtr x="-3451" y="0"/>
                                    </p:animMotion>
                                  </p:childTnLst>
                                </p:cTn>
                              </p:par>
                              <p:par>
                                <p:cTn id="20" presetID="10" presetClass="entr" presetSubtype="0" fill="hold" nodeType="withEffect">
                                  <p:stCondLst>
                                    <p:cond delay="150"/>
                                  </p:stCondLst>
                                  <p:childTnLst>
                                    <p:set>
                                      <p:cBhvr>
                                        <p:cTn id="21" dur="1" fill="hold">
                                          <p:stCondLst>
                                            <p:cond delay="0"/>
                                          </p:stCondLst>
                                        </p:cTn>
                                        <p:tgtEl>
                                          <p:spTgt spid="154"/>
                                        </p:tgtEl>
                                        <p:attrNameLst>
                                          <p:attrName>style.visibility</p:attrName>
                                        </p:attrNameLst>
                                      </p:cBhvr>
                                      <p:to>
                                        <p:strVal val="visible"/>
                                      </p:to>
                                    </p:set>
                                    <p:animEffect transition="in" filter="fade">
                                      <p:cBhvr>
                                        <p:cTn id="22" dur="500"/>
                                        <p:tgtEl>
                                          <p:spTgt spid="154"/>
                                        </p:tgtEl>
                                      </p:cBhvr>
                                    </p:animEffect>
                                  </p:childTnLst>
                                </p:cTn>
                              </p:par>
                              <p:par>
                                <p:cTn id="23" presetID="35" presetClass="path" presetSubtype="0" decel="100000" fill="hold" nodeType="withEffect">
                                  <p:stCondLst>
                                    <p:cond delay="150"/>
                                  </p:stCondLst>
                                  <p:childTnLst>
                                    <p:animMotion origin="layout" path="M -3.95833E-6 -4.07407E-6 L -0.06914 -4.07407E-6 " pathEditMode="relative" rAng="0" ptsTypes="AA">
                                      <p:cBhvr>
                                        <p:cTn id="24" dur="1000" spd="-100000" fill="hold"/>
                                        <p:tgtEl>
                                          <p:spTgt spid="154"/>
                                        </p:tgtEl>
                                        <p:attrNameLst>
                                          <p:attrName>ppt_x</p:attrName>
                                          <p:attrName>ppt_y</p:attrName>
                                        </p:attrNameLst>
                                      </p:cBhvr>
                                      <p:rCtr x="-3451" y="0"/>
                                    </p:animMotion>
                                  </p:childTnLst>
                                </p:cTn>
                              </p:par>
                              <p:par>
                                <p:cTn id="25" presetID="10" presetClass="entr" presetSubtype="0" fill="hold" nodeType="withEffect">
                                  <p:stCondLst>
                                    <p:cond delay="200"/>
                                  </p:stCondLst>
                                  <p:childTnLst>
                                    <p:set>
                                      <p:cBhvr>
                                        <p:cTn id="26" dur="1" fill="hold">
                                          <p:stCondLst>
                                            <p:cond delay="0"/>
                                          </p:stCondLst>
                                        </p:cTn>
                                        <p:tgtEl>
                                          <p:spTgt spid="136"/>
                                        </p:tgtEl>
                                        <p:attrNameLst>
                                          <p:attrName>style.visibility</p:attrName>
                                        </p:attrNameLst>
                                      </p:cBhvr>
                                      <p:to>
                                        <p:strVal val="visible"/>
                                      </p:to>
                                    </p:set>
                                    <p:animEffect transition="in" filter="fade">
                                      <p:cBhvr>
                                        <p:cTn id="27" dur="500"/>
                                        <p:tgtEl>
                                          <p:spTgt spid="136"/>
                                        </p:tgtEl>
                                      </p:cBhvr>
                                    </p:animEffect>
                                  </p:childTnLst>
                                </p:cTn>
                              </p:par>
                              <p:par>
                                <p:cTn id="28" presetID="35" presetClass="path" presetSubtype="0" decel="100000" fill="hold" nodeType="withEffect">
                                  <p:stCondLst>
                                    <p:cond delay="200"/>
                                  </p:stCondLst>
                                  <p:childTnLst>
                                    <p:animMotion origin="layout" path="M -3.95833E-6 -4.07407E-6 L -0.06914 -4.07407E-6 " pathEditMode="relative" rAng="0" ptsTypes="AA">
                                      <p:cBhvr>
                                        <p:cTn id="29" dur="1000" spd="-100000" fill="hold"/>
                                        <p:tgtEl>
                                          <p:spTgt spid="136"/>
                                        </p:tgtEl>
                                        <p:attrNameLst>
                                          <p:attrName>ppt_x</p:attrName>
                                          <p:attrName>ppt_y</p:attrName>
                                        </p:attrNameLst>
                                      </p:cBhvr>
                                      <p:rCtr x="-3451" y="0"/>
                                    </p:animMotion>
                                  </p:childTnLst>
                                </p:cTn>
                              </p:par>
                              <p:par>
                                <p:cTn id="30" presetID="10" presetClass="entr" presetSubtype="0" fill="hold" nodeType="withEffect">
                                  <p:stCondLst>
                                    <p:cond delay="250"/>
                                  </p:stCondLst>
                                  <p:childTnLst>
                                    <p:set>
                                      <p:cBhvr>
                                        <p:cTn id="31" dur="1" fill="hold">
                                          <p:stCondLst>
                                            <p:cond delay="0"/>
                                          </p:stCondLst>
                                        </p:cTn>
                                        <p:tgtEl>
                                          <p:spTgt spid="148"/>
                                        </p:tgtEl>
                                        <p:attrNameLst>
                                          <p:attrName>style.visibility</p:attrName>
                                        </p:attrNameLst>
                                      </p:cBhvr>
                                      <p:to>
                                        <p:strVal val="visible"/>
                                      </p:to>
                                    </p:set>
                                    <p:animEffect transition="in" filter="fade">
                                      <p:cBhvr>
                                        <p:cTn id="32" dur="500"/>
                                        <p:tgtEl>
                                          <p:spTgt spid="148"/>
                                        </p:tgtEl>
                                      </p:cBhvr>
                                    </p:animEffect>
                                  </p:childTnLst>
                                </p:cTn>
                              </p:par>
                              <p:par>
                                <p:cTn id="33" presetID="35" presetClass="path" presetSubtype="0" decel="100000" fill="hold" nodeType="withEffect">
                                  <p:stCondLst>
                                    <p:cond delay="250"/>
                                  </p:stCondLst>
                                  <p:childTnLst>
                                    <p:animMotion origin="layout" path="M -3.95833E-6 -4.07407E-6 L -0.06914 -4.07407E-6 " pathEditMode="relative" rAng="0" ptsTypes="AA">
                                      <p:cBhvr>
                                        <p:cTn id="34" dur="1000" spd="-100000" fill="hold"/>
                                        <p:tgtEl>
                                          <p:spTgt spid="148"/>
                                        </p:tgtEl>
                                        <p:attrNameLst>
                                          <p:attrName>ppt_x</p:attrName>
                                          <p:attrName>ppt_y</p:attrName>
                                        </p:attrNameLst>
                                      </p:cBhvr>
                                      <p:rCtr x="-3451" y="0"/>
                                    </p:animMotion>
                                  </p:childTnLst>
                                </p:cTn>
                              </p:par>
                              <p:par>
                                <p:cTn id="35" presetID="10" presetClass="entr" presetSubtype="0" fill="hold" nodeType="withEffect">
                                  <p:stCondLst>
                                    <p:cond delay="300"/>
                                  </p:stCondLst>
                                  <p:childTnLst>
                                    <p:set>
                                      <p:cBhvr>
                                        <p:cTn id="36" dur="1" fill="hold">
                                          <p:stCondLst>
                                            <p:cond delay="0"/>
                                          </p:stCondLst>
                                        </p:cTn>
                                        <p:tgtEl>
                                          <p:spTgt spid="207"/>
                                        </p:tgtEl>
                                        <p:attrNameLst>
                                          <p:attrName>style.visibility</p:attrName>
                                        </p:attrNameLst>
                                      </p:cBhvr>
                                      <p:to>
                                        <p:strVal val="visible"/>
                                      </p:to>
                                    </p:set>
                                    <p:animEffect transition="in" filter="fade">
                                      <p:cBhvr>
                                        <p:cTn id="37" dur="500"/>
                                        <p:tgtEl>
                                          <p:spTgt spid="207"/>
                                        </p:tgtEl>
                                      </p:cBhvr>
                                    </p:animEffect>
                                  </p:childTnLst>
                                </p:cTn>
                              </p:par>
                              <p:par>
                                <p:cTn id="38" presetID="35" presetClass="path" presetSubtype="0" decel="100000" fill="hold" nodeType="withEffect">
                                  <p:stCondLst>
                                    <p:cond delay="300"/>
                                  </p:stCondLst>
                                  <p:childTnLst>
                                    <p:animMotion origin="layout" path="M -3.95833E-6 -4.07407E-6 L -0.06914 -4.07407E-6 " pathEditMode="relative" rAng="0" ptsTypes="AA">
                                      <p:cBhvr>
                                        <p:cTn id="39" dur="1000" spd="-100000" fill="hold"/>
                                        <p:tgtEl>
                                          <p:spTgt spid="207"/>
                                        </p:tgtEl>
                                        <p:attrNameLst>
                                          <p:attrName>ppt_x</p:attrName>
                                          <p:attrName>ppt_y</p:attrName>
                                        </p:attrNameLst>
                                      </p:cBhvr>
                                      <p:rCtr x="-3451" y="0"/>
                                    </p:animMotion>
                                  </p:childTnLst>
                                </p:cTn>
                              </p:par>
                              <p:par>
                                <p:cTn id="40" presetID="10" presetClass="entr" presetSubtype="0" fill="hold" nodeType="withEffect">
                                  <p:stCondLst>
                                    <p:cond delay="35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35" presetClass="path" presetSubtype="0" decel="100000" fill="hold" nodeType="withEffect">
                                  <p:stCondLst>
                                    <p:cond delay="350"/>
                                  </p:stCondLst>
                                  <p:childTnLst>
                                    <p:animMotion origin="layout" path="M -3.95833E-6 -4.07407E-6 L -0.06914 -4.07407E-6 " pathEditMode="relative" rAng="0" ptsTypes="AA">
                                      <p:cBhvr>
                                        <p:cTn id="44" dur="1000" spd="-100000" fill="hold"/>
                                        <p:tgtEl>
                                          <p:spTgt spid="130"/>
                                        </p:tgtEl>
                                        <p:attrNameLst>
                                          <p:attrName>ppt_x</p:attrName>
                                          <p:attrName>ppt_y</p:attrName>
                                        </p:attrNameLst>
                                      </p:cBhvr>
                                      <p:rCtr x="-3451" y="0"/>
                                    </p:animMotion>
                                  </p:childTnLst>
                                </p:cTn>
                              </p:par>
                              <p:par>
                                <p:cTn id="45" presetID="10" presetClass="entr" presetSubtype="0" fill="hold" nodeType="withEffect">
                                  <p:stCondLst>
                                    <p:cond delay="400"/>
                                  </p:stCondLst>
                                  <p:childTnLst>
                                    <p:set>
                                      <p:cBhvr>
                                        <p:cTn id="46" dur="1" fill="hold">
                                          <p:stCondLst>
                                            <p:cond delay="0"/>
                                          </p:stCondLst>
                                        </p:cTn>
                                        <p:tgtEl>
                                          <p:spTgt spid="193"/>
                                        </p:tgtEl>
                                        <p:attrNameLst>
                                          <p:attrName>style.visibility</p:attrName>
                                        </p:attrNameLst>
                                      </p:cBhvr>
                                      <p:to>
                                        <p:strVal val="visible"/>
                                      </p:to>
                                    </p:set>
                                    <p:animEffect transition="in" filter="fade">
                                      <p:cBhvr>
                                        <p:cTn id="47" dur="500"/>
                                        <p:tgtEl>
                                          <p:spTgt spid="193"/>
                                        </p:tgtEl>
                                      </p:cBhvr>
                                    </p:animEffect>
                                  </p:childTnLst>
                                </p:cTn>
                              </p:par>
                              <p:par>
                                <p:cTn id="48" presetID="35" presetClass="path" presetSubtype="0" decel="100000" fill="hold" nodeType="withEffect">
                                  <p:stCondLst>
                                    <p:cond delay="400"/>
                                  </p:stCondLst>
                                  <p:childTnLst>
                                    <p:animMotion origin="layout" path="M -3.95833E-6 -4.07407E-6 L -0.06914 -4.07407E-6 " pathEditMode="relative" rAng="0" ptsTypes="AA">
                                      <p:cBhvr>
                                        <p:cTn id="49" dur="1000" spd="-100000" fill="hold"/>
                                        <p:tgtEl>
                                          <p:spTgt spid="193"/>
                                        </p:tgtEl>
                                        <p:attrNameLst>
                                          <p:attrName>ppt_x</p:attrName>
                                          <p:attrName>ppt_y</p:attrName>
                                        </p:attrNameLst>
                                      </p:cBhvr>
                                      <p:rCtr x="-3451" y="0"/>
                                    </p:animMotion>
                                  </p:childTnLst>
                                </p:cTn>
                              </p:par>
                              <p:par>
                                <p:cTn id="50" presetID="10" presetClass="entr" presetSubtype="0" fill="hold" nodeType="withEffect">
                                  <p:stCondLst>
                                    <p:cond delay="450"/>
                                  </p:stCondLst>
                                  <p:childTnLst>
                                    <p:set>
                                      <p:cBhvr>
                                        <p:cTn id="51" dur="1" fill="hold">
                                          <p:stCondLst>
                                            <p:cond delay="0"/>
                                          </p:stCondLst>
                                        </p:cTn>
                                        <p:tgtEl>
                                          <p:spTgt spid="142"/>
                                        </p:tgtEl>
                                        <p:attrNameLst>
                                          <p:attrName>style.visibility</p:attrName>
                                        </p:attrNameLst>
                                      </p:cBhvr>
                                      <p:to>
                                        <p:strVal val="visible"/>
                                      </p:to>
                                    </p:set>
                                    <p:animEffect transition="in" filter="fade">
                                      <p:cBhvr>
                                        <p:cTn id="52" dur="500"/>
                                        <p:tgtEl>
                                          <p:spTgt spid="142"/>
                                        </p:tgtEl>
                                      </p:cBhvr>
                                    </p:animEffect>
                                  </p:childTnLst>
                                </p:cTn>
                              </p:par>
                              <p:par>
                                <p:cTn id="53" presetID="35" presetClass="path" presetSubtype="0" decel="100000" fill="hold" nodeType="withEffect">
                                  <p:stCondLst>
                                    <p:cond delay="450"/>
                                  </p:stCondLst>
                                  <p:childTnLst>
                                    <p:animMotion origin="layout" path="M -3.95833E-6 -4.07407E-6 L -0.06914 -4.07407E-6 " pathEditMode="relative" rAng="0" ptsTypes="AA">
                                      <p:cBhvr>
                                        <p:cTn id="54" dur="1000" spd="-100000" fill="hold"/>
                                        <p:tgtEl>
                                          <p:spTgt spid="142"/>
                                        </p:tgtEl>
                                        <p:attrNameLst>
                                          <p:attrName>ppt_x</p:attrName>
                                          <p:attrName>ppt_y</p:attrName>
                                        </p:attrNameLst>
                                      </p:cBhvr>
                                      <p:rCtr x="-3451" y="0"/>
                                    </p:animMotion>
                                  </p:childTnLst>
                                </p:cTn>
                              </p:par>
                              <p:par>
                                <p:cTn id="55" presetID="10" presetClass="entr" presetSubtype="0" fill="hold" nodeType="withEffect">
                                  <p:stCondLst>
                                    <p:cond delay="500"/>
                                  </p:stCondLst>
                                  <p:childTnLst>
                                    <p:set>
                                      <p:cBhvr>
                                        <p:cTn id="56" dur="1" fill="hold">
                                          <p:stCondLst>
                                            <p:cond delay="0"/>
                                          </p:stCondLst>
                                        </p:cTn>
                                        <p:tgtEl>
                                          <p:spTgt spid="172"/>
                                        </p:tgtEl>
                                        <p:attrNameLst>
                                          <p:attrName>style.visibility</p:attrName>
                                        </p:attrNameLst>
                                      </p:cBhvr>
                                      <p:to>
                                        <p:strVal val="visible"/>
                                      </p:to>
                                    </p:set>
                                    <p:animEffect transition="in" filter="fade">
                                      <p:cBhvr>
                                        <p:cTn id="57" dur="500"/>
                                        <p:tgtEl>
                                          <p:spTgt spid="172"/>
                                        </p:tgtEl>
                                      </p:cBhvr>
                                    </p:animEffect>
                                  </p:childTnLst>
                                </p:cTn>
                              </p:par>
                              <p:par>
                                <p:cTn id="58" presetID="35" presetClass="path" presetSubtype="0" decel="100000" fill="hold" nodeType="withEffect">
                                  <p:stCondLst>
                                    <p:cond delay="500"/>
                                  </p:stCondLst>
                                  <p:childTnLst>
                                    <p:animMotion origin="layout" path="M -3.95833E-6 -4.07407E-6 L -0.06914 -4.07407E-6 " pathEditMode="relative" rAng="0" ptsTypes="AA">
                                      <p:cBhvr>
                                        <p:cTn id="59" dur="1000" spd="-100000" fill="hold"/>
                                        <p:tgtEl>
                                          <p:spTgt spid="172"/>
                                        </p:tgtEl>
                                        <p:attrNameLst>
                                          <p:attrName>ppt_x</p:attrName>
                                          <p:attrName>ppt_y</p:attrName>
                                        </p:attrNameLst>
                                      </p:cBhvr>
                                      <p:rCtr x="-3451" y="0"/>
                                    </p:animMotion>
                                  </p:childTnLst>
                                </p:cTn>
                              </p:par>
                              <p:par>
                                <p:cTn id="60" presetID="10" presetClass="entr" presetSubtype="0" fill="hold" nodeType="withEffect">
                                  <p:stCondLst>
                                    <p:cond delay="550"/>
                                  </p:stCondLst>
                                  <p:childTnLst>
                                    <p:set>
                                      <p:cBhvr>
                                        <p:cTn id="61" dur="1" fill="hold">
                                          <p:stCondLst>
                                            <p:cond delay="0"/>
                                          </p:stCondLst>
                                        </p:cTn>
                                        <p:tgtEl>
                                          <p:spTgt spid="187"/>
                                        </p:tgtEl>
                                        <p:attrNameLst>
                                          <p:attrName>style.visibility</p:attrName>
                                        </p:attrNameLst>
                                      </p:cBhvr>
                                      <p:to>
                                        <p:strVal val="visible"/>
                                      </p:to>
                                    </p:set>
                                    <p:animEffect transition="in" filter="fade">
                                      <p:cBhvr>
                                        <p:cTn id="62" dur="500"/>
                                        <p:tgtEl>
                                          <p:spTgt spid="187"/>
                                        </p:tgtEl>
                                      </p:cBhvr>
                                    </p:animEffect>
                                  </p:childTnLst>
                                </p:cTn>
                              </p:par>
                              <p:par>
                                <p:cTn id="63" presetID="35" presetClass="path" presetSubtype="0" decel="100000" fill="hold" nodeType="withEffect">
                                  <p:stCondLst>
                                    <p:cond delay="550"/>
                                  </p:stCondLst>
                                  <p:childTnLst>
                                    <p:animMotion origin="layout" path="M -3.95833E-6 -4.07407E-6 L -0.06914 -4.07407E-6 " pathEditMode="relative" rAng="0" ptsTypes="AA">
                                      <p:cBhvr>
                                        <p:cTn id="64" dur="1000" spd="-100000" fill="hold"/>
                                        <p:tgtEl>
                                          <p:spTgt spid="187"/>
                                        </p:tgtEl>
                                        <p:attrNameLst>
                                          <p:attrName>ppt_x</p:attrName>
                                          <p:attrName>ppt_y</p:attrName>
                                        </p:attrNameLst>
                                      </p:cBhvr>
                                      <p:rCtr x="-3451" y="0"/>
                                    </p:animMotion>
                                  </p:childTnLst>
                                </p:cTn>
                              </p:par>
                              <p:par>
                                <p:cTn id="65" presetID="10" presetClass="entr" presetSubtype="0" fill="hold" nodeType="withEffect">
                                  <p:stCondLst>
                                    <p:cond delay="600"/>
                                  </p:stCondLst>
                                  <p:childTnLst>
                                    <p:set>
                                      <p:cBhvr>
                                        <p:cTn id="66" dur="1" fill="hold">
                                          <p:stCondLst>
                                            <p:cond delay="0"/>
                                          </p:stCondLst>
                                        </p:cTn>
                                        <p:tgtEl>
                                          <p:spTgt spid="175"/>
                                        </p:tgtEl>
                                        <p:attrNameLst>
                                          <p:attrName>style.visibility</p:attrName>
                                        </p:attrNameLst>
                                      </p:cBhvr>
                                      <p:to>
                                        <p:strVal val="visible"/>
                                      </p:to>
                                    </p:set>
                                    <p:animEffect transition="in" filter="fade">
                                      <p:cBhvr>
                                        <p:cTn id="67" dur="500"/>
                                        <p:tgtEl>
                                          <p:spTgt spid="175"/>
                                        </p:tgtEl>
                                      </p:cBhvr>
                                    </p:animEffect>
                                  </p:childTnLst>
                                </p:cTn>
                              </p:par>
                              <p:par>
                                <p:cTn id="68" presetID="35" presetClass="path" presetSubtype="0" decel="100000" fill="hold" nodeType="withEffect">
                                  <p:stCondLst>
                                    <p:cond delay="600"/>
                                  </p:stCondLst>
                                  <p:childTnLst>
                                    <p:animMotion origin="layout" path="M -3.95833E-6 -4.07407E-6 L -0.06914 -4.07407E-6 " pathEditMode="relative" rAng="0" ptsTypes="AA">
                                      <p:cBhvr>
                                        <p:cTn id="69" dur="1000" spd="-100000" fill="hold"/>
                                        <p:tgtEl>
                                          <p:spTgt spid="175"/>
                                        </p:tgtEl>
                                        <p:attrNameLst>
                                          <p:attrName>ppt_x</p:attrName>
                                          <p:attrName>ppt_y</p:attrName>
                                        </p:attrNameLst>
                                      </p:cBhvr>
                                      <p:rCtr x="-3451" y="0"/>
                                    </p:animMotion>
                                  </p:childTnLst>
                                </p:cTn>
                              </p:par>
                              <p:par>
                                <p:cTn id="70" presetID="10" presetClass="entr" presetSubtype="0" fill="hold" nodeType="withEffect">
                                  <p:stCondLst>
                                    <p:cond delay="650"/>
                                  </p:stCondLst>
                                  <p:childTnLst>
                                    <p:set>
                                      <p:cBhvr>
                                        <p:cTn id="71" dur="1" fill="hold">
                                          <p:stCondLst>
                                            <p:cond delay="0"/>
                                          </p:stCondLst>
                                        </p:cTn>
                                        <p:tgtEl>
                                          <p:spTgt spid="184"/>
                                        </p:tgtEl>
                                        <p:attrNameLst>
                                          <p:attrName>style.visibility</p:attrName>
                                        </p:attrNameLst>
                                      </p:cBhvr>
                                      <p:to>
                                        <p:strVal val="visible"/>
                                      </p:to>
                                    </p:set>
                                    <p:animEffect transition="in" filter="fade">
                                      <p:cBhvr>
                                        <p:cTn id="72" dur="500"/>
                                        <p:tgtEl>
                                          <p:spTgt spid="184"/>
                                        </p:tgtEl>
                                      </p:cBhvr>
                                    </p:animEffect>
                                  </p:childTnLst>
                                </p:cTn>
                              </p:par>
                              <p:par>
                                <p:cTn id="73" presetID="35" presetClass="path" presetSubtype="0" decel="100000" fill="hold" nodeType="withEffect">
                                  <p:stCondLst>
                                    <p:cond delay="650"/>
                                  </p:stCondLst>
                                  <p:childTnLst>
                                    <p:animMotion origin="layout" path="M -3.95833E-6 -4.07407E-6 L -0.06914 -4.07407E-6 " pathEditMode="relative" rAng="0" ptsTypes="AA">
                                      <p:cBhvr>
                                        <p:cTn id="74" dur="1000" spd="-100000" fill="hold"/>
                                        <p:tgtEl>
                                          <p:spTgt spid="184"/>
                                        </p:tgtEl>
                                        <p:attrNameLst>
                                          <p:attrName>ppt_x</p:attrName>
                                          <p:attrName>ppt_y</p:attrName>
                                        </p:attrNameLst>
                                      </p:cBhvr>
                                      <p:rCtr x="-3451" y="0"/>
                                    </p:animMotion>
                                  </p:childTnLst>
                                </p:cTn>
                              </p:par>
                              <p:par>
                                <p:cTn id="75" presetID="10" presetClass="entr" presetSubtype="0" fill="hold" nodeType="withEffect">
                                  <p:stCondLst>
                                    <p:cond delay="700"/>
                                  </p:stCondLst>
                                  <p:childTnLst>
                                    <p:set>
                                      <p:cBhvr>
                                        <p:cTn id="76" dur="1" fill="hold">
                                          <p:stCondLst>
                                            <p:cond delay="0"/>
                                          </p:stCondLst>
                                        </p:cTn>
                                        <p:tgtEl>
                                          <p:spTgt spid="178"/>
                                        </p:tgtEl>
                                        <p:attrNameLst>
                                          <p:attrName>style.visibility</p:attrName>
                                        </p:attrNameLst>
                                      </p:cBhvr>
                                      <p:to>
                                        <p:strVal val="visible"/>
                                      </p:to>
                                    </p:set>
                                    <p:animEffect transition="in" filter="fade">
                                      <p:cBhvr>
                                        <p:cTn id="77" dur="500"/>
                                        <p:tgtEl>
                                          <p:spTgt spid="178"/>
                                        </p:tgtEl>
                                      </p:cBhvr>
                                    </p:animEffect>
                                  </p:childTnLst>
                                </p:cTn>
                              </p:par>
                              <p:par>
                                <p:cTn id="78" presetID="35" presetClass="path" presetSubtype="0" decel="100000" fill="hold" nodeType="withEffect">
                                  <p:stCondLst>
                                    <p:cond delay="700"/>
                                  </p:stCondLst>
                                  <p:childTnLst>
                                    <p:animMotion origin="layout" path="M -3.95833E-6 -4.07407E-6 L -0.06914 -4.07407E-6 " pathEditMode="relative" rAng="0" ptsTypes="AA">
                                      <p:cBhvr>
                                        <p:cTn id="79" dur="1000" spd="-100000" fill="hold"/>
                                        <p:tgtEl>
                                          <p:spTgt spid="178"/>
                                        </p:tgtEl>
                                        <p:attrNameLst>
                                          <p:attrName>ppt_x</p:attrName>
                                          <p:attrName>ppt_y</p:attrName>
                                        </p:attrNameLst>
                                      </p:cBhvr>
                                      <p:rCtr x="-3451" y="0"/>
                                    </p:animMotion>
                                  </p:childTnLst>
                                </p:cTn>
                              </p:par>
                              <p:par>
                                <p:cTn id="80" presetID="10" presetClass="entr" presetSubtype="0" fill="hold" nodeType="withEffect">
                                  <p:stCondLst>
                                    <p:cond delay="750"/>
                                  </p:stCondLst>
                                  <p:childTnLst>
                                    <p:set>
                                      <p:cBhvr>
                                        <p:cTn id="81" dur="1" fill="hold">
                                          <p:stCondLst>
                                            <p:cond delay="0"/>
                                          </p:stCondLst>
                                        </p:cTn>
                                        <p:tgtEl>
                                          <p:spTgt spid="151"/>
                                        </p:tgtEl>
                                        <p:attrNameLst>
                                          <p:attrName>style.visibility</p:attrName>
                                        </p:attrNameLst>
                                      </p:cBhvr>
                                      <p:to>
                                        <p:strVal val="visible"/>
                                      </p:to>
                                    </p:set>
                                    <p:animEffect transition="in" filter="fade">
                                      <p:cBhvr>
                                        <p:cTn id="82" dur="500"/>
                                        <p:tgtEl>
                                          <p:spTgt spid="151"/>
                                        </p:tgtEl>
                                      </p:cBhvr>
                                    </p:animEffect>
                                  </p:childTnLst>
                                </p:cTn>
                              </p:par>
                              <p:par>
                                <p:cTn id="83" presetID="35" presetClass="path" presetSubtype="0" decel="100000" fill="hold" nodeType="withEffect">
                                  <p:stCondLst>
                                    <p:cond delay="750"/>
                                  </p:stCondLst>
                                  <p:childTnLst>
                                    <p:animMotion origin="layout" path="M -3.95833E-6 -4.07407E-6 L -0.06914 -4.07407E-6 " pathEditMode="relative" rAng="0" ptsTypes="AA">
                                      <p:cBhvr>
                                        <p:cTn id="84" dur="1000" spd="-100000" fill="hold"/>
                                        <p:tgtEl>
                                          <p:spTgt spid="151"/>
                                        </p:tgtEl>
                                        <p:attrNameLst>
                                          <p:attrName>ppt_x</p:attrName>
                                          <p:attrName>ppt_y</p:attrName>
                                        </p:attrNameLst>
                                      </p:cBhvr>
                                      <p:rCtr x="-3451" y="0"/>
                                    </p:animMotion>
                                  </p:childTnLst>
                                </p:cTn>
                              </p:par>
                              <p:par>
                                <p:cTn id="85" presetID="10" presetClass="entr" presetSubtype="0" fill="hold" nodeType="withEffect">
                                  <p:stCondLst>
                                    <p:cond delay="800"/>
                                  </p:stCondLst>
                                  <p:childTnLst>
                                    <p:set>
                                      <p:cBhvr>
                                        <p:cTn id="86" dur="1" fill="hold">
                                          <p:stCondLst>
                                            <p:cond delay="0"/>
                                          </p:stCondLst>
                                        </p:cTn>
                                        <p:tgtEl>
                                          <p:spTgt spid="204"/>
                                        </p:tgtEl>
                                        <p:attrNameLst>
                                          <p:attrName>style.visibility</p:attrName>
                                        </p:attrNameLst>
                                      </p:cBhvr>
                                      <p:to>
                                        <p:strVal val="visible"/>
                                      </p:to>
                                    </p:set>
                                    <p:animEffect transition="in" filter="fade">
                                      <p:cBhvr>
                                        <p:cTn id="87" dur="500"/>
                                        <p:tgtEl>
                                          <p:spTgt spid="204"/>
                                        </p:tgtEl>
                                      </p:cBhvr>
                                    </p:animEffect>
                                  </p:childTnLst>
                                </p:cTn>
                              </p:par>
                              <p:par>
                                <p:cTn id="88" presetID="35" presetClass="path" presetSubtype="0" decel="100000" fill="hold" nodeType="withEffect">
                                  <p:stCondLst>
                                    <p:cond delay="800"/>
                                  </p:stCondLst>
                                  <p:childTnLst>
                                    <p:animMotion origin="layout" path="M -3.95833E-6 -4.07407E-6 L -0.06914 -4.07407E-6 " pathEditMode="relative" rAng="0" ptsTypes="AA">
                                      <p:cBhvr>
                                        <p:cTn id="89" dur="1000" spd="-100000" fill="hold"/>
                                        <p:tgtEl>
                                          <p:spTgt spid="204"/>
                                        </p:tgtEl>
                                        <p:attrNameLst>
                                          <p:attrName>ppt_x</p:attrName>
                                          <p:attrName>ppt_y</p:attrName>
                                        </p:attrNameLst>
                                      </p:cBhvr>
                                      <p:rCtr x="-3451" y="0"/>
                                    </p:animMotion>
                                  </p:childTnLst>
                                </p:cTn>
                              </p:par>
                              <p:par>
                                <p:cTn id="90" presetID="10" presetClass="entr" presetSubtype="0" fill="hold" nodeType="withEffect">
                                  <p:stCondLst>
                                    <p:cond delay="900"/>
                                  </p:stCondLst>
                                  <p:childTnLst>
                                    <p:set>
                                      <p:cBhvr>
                                        <p:cTn id="91" dur="1" fill="hold">
                                          <p:stCondLst>
                                            <p:cond delay="0"/>
                                          </p:stCondLst>
                                        </p:cTn>
                                        <p:tgtEl>
                                          <p:spTgt spid="190"/>
                                        </p:tgtEl>
                                        <p:attrNameLst>
                                          <p:attrName>style.visibility</p:attrName>
                                        </p:attrNameLst>
                                      </p:cBhvr>
                                      <p:to>
                                        <p:strVal val="visible"/>
                                      </p:to>
                                    </p:set>
                                    <p:animEffect transition="in" filter="fade">
                                      <p:cBhvr>
                                        <p:cTn id="92" dur="500"/>
                                        <p:tgtEl>
                                          <p:spTgt spid="190"/>
                                        </p:tgtEl>
                                      </p:cBhvr>
                                    </p:animEffect>
                                  </p:childTnLst>
                                </p:cTn>
                              </p:par>
                              <p:par>
                                <p:cTn id="93" presetID="35" presetClass="path" presetSubtype="0" decel="100000" fill="hold" nodeType="withEffect">
                                  <p:stCondLst>
                                    <p:cond delay="900"/>
                                  </p:stCondLst>
                                  <p:childTnLst>
                                    <p:animMotion origin="layout" path="M -3.95833E-6 -4.07407E-6 L -0.06914 -4.07407E-6 " pathEditMode="relative" rAng="0" ptsTypes="AA">
                                      <p:cBhvr>
                                        <p:cTn id="94" dur="1000" spd="-100000" fill="hold"/>
                                        <p:tgtEl>
                                          <p:spTgt spid="190"/>
                                        </p:tgtEl>
                                        <p:attrNameLst>
                                          <p:attrName>ppt_x</p:attrName>
                                          <p:attrName>ppt_y</p:attrName>
                                        </p:attrNameLst>
                                      </p:cBhvr>
                                      <p:rCtr x="-3451" y="0"/>
                                    </p:animMotion>
                                  </p:childTnLst>
                                </p:cTn>
                              </p:par>
                              <p:par>
                                <p:cTn id="95" presetID="10" presetClass="entr" presetSubtype="0" fill="hold" nodeType="withEffect">
                                  <p:stCondLst>
                                    <p:cond delay="950"/>
                                  </p:stCondLst>
                                  <p:childTnLst>
                                    <p:set>
                                      <p:cBhvr>
                                        <p:cTn id="96" dur="1" fill="hold">
                                          <p:stCondLst>
                                            <p:cond delay="0"/>
                                          </p:stCondLst>
                                        </p:cTn>
                                        <p:tgtEl>
                                          <p:spTgt spid="118"/>
                                        </p:tgtEl>
                                        <p:attrNameLst>
                                          <p:attrName>style.visibility</p:attrName>
                                        </p:attrNameLst>
                                      </p:cBhvr>
                                      <p:to>
                                        <p:strVal val="visible"/>
                                      </p:to>
                                    </p:set>
                                    <p:animEffect transition="in" filter="fade">
                                      <p:cBhvr>
                                        <p:cTn id="97" dur="500"/>
                                        <p:tgtEl>
                                          <p:spTgt spid="118"/>
                                        </p:tgtEl>
                                      </p:cBhvr>
                                    </p:animEffect>
                                  </p:childTnLst>
                                </p:cTn>
                              </p:par>
                              <p:par>
                                <p:cTn id="98" presetID="35" presetClass="path" presetSubtype="0" decel="100000" fill="hold" nodeType="withEffect">
                                  <p:stCondLst>
                                    <p:cond delay="950"/>
                                  </p:stCondLst>
                                  <p:childTnLst>
                                    <p:animMotion origin="layout" path="M -3.95833E-6 -4.07407E-6 L -0.06914 -4.07407E-6 " pathEditMode="relative" rAng="0" ptsTypes="AA">
                                      <p:cBhvr>
                                        <p:cTn id="99" dur="1000" spd="-100000" fill="hold"/>
                                        <p:tgtEl>
                                          <p:spTgt spid="118"/>
                                        </p:tgtEl>
                                        <p:attrNameLst>
                                          <p:attrName>ppt_x</p:attrName>
                                          <p:attrName>ppt_y</p:attrName>
                                        </p:attrNameLst>
                                      </p:cBhvr>
                                      <p:rCtr x="-3451" y="0"/>
                                    </p:animMotion>
                                  </p:childTnLst>
                                </p:cTn>
                              </p:par>
                              <p:par>
                                <p:cTn id="100" presetID="10" presetClass="entr" presetSubtype="0" fill="hold" nodeType="withEffect">
                                  <p:stCondLst>
                                    <p:cond delay="1000"/>
                                  </p:stCondLst>
                                  <p:childTnLst>
                                    <p:set>
                                      <p:cBhvr>
                                        <p:cTn id="101" dur="1" fill="hold">
                                          <p:stCondLst>
                                            <p:cond delay="0"/>
                                          </p:stCondLst>
                                        </p:cTn>
                                        <p:tgtEl>
                                          <p:spTgt spid="112"/>
                                        </p:tgtEl>
                                        <p:attrNameLst>
                                          <p:attrName>style.visibility</p:attrName>
                                        </p:attrNameLst>
                                      </p:cBhvr>
                                      <p:to>
                                        <p:strVal val="visible"/>
                                      </p:to>
                                    </p:set>
                                    <p:animEffect transition="in" filter="fade">
                                      <p:cBhvr>
                                        <p:cTn id="102" dur="500"/>
                                        <p:tgtEl>
                                          <p:spTgt spid="112"/>
                                        </p:tgtEl>
                                      </p:cBhvr>
                                    </p:animEffect>
                                  </p:childTnLst>
                                </p:cTn>
                              </p:par>
                              <p:par>
                                <p:cTn id="103" presetID="35" presetClass="path" presetSubtype="0" decel="100000" fill="hold" nodeType="withEffect">
                                  <p:stCondLst>
                                    <p:cond delay="1000"/>
                                  </p:stCondLst>
                                  <p:childTnLst>
                                    <p:animMotion origin="layout" path="M 4.375E-6 -1.11111E-6 L -0.06915 -1.11111E-6 " pathEditMode="relative" rAng="0" ptsTypes="AA">
                                      <p:cBhvr>
                                        <p:cTn id="104" dur="1000" spd="-100000" fill="hold"/>
                                        <p:tgtEl>
                                          <p:spTgt spid="112"/>
                                        </p:tgtEl>
                                        <p:attrNameLst>
                                          <p:attrName>ppt_x</p:attrName>
                                          <p:attrName>ppt_y</p:attrName>
                                        </p:attrNameLst>
                                      </p:cBhvr>
                                      <p:rCtr x="-3451" y="0"/>
                                    </p:animMotion>
                                  </p:childTnLst>
                                </p:cTn>
                              </p:par>
                              <p:par>
                                <p:cTn id="105" presetID="10" presetClass="entr" presetSubtype="0" fill="hold" nodeType="withEffect">
                                  <p:stCondLst>
                                    <p:cond delay="1050"/>
                                  </p:stCondLst>
                                  <p:childTnLst>
                                    <p:set>
                                      <p:cBhvr>
                                        <p:cTn id="106" dur="1" fill="hold">
                                          <p:stCondLst>
                                            <p:cond delay="0"/>
                                          </p:stCondLst>
                                        </p:cTn>
                                        <p:tgtEl>
                                          <p:spTgt spid="139"/>
                                        </p:tgtEl>
                                        <p:attrNameLst>
                                          <p:attrName>style.visibility</p:attrName>
                                        </p:attrNameLst>
                                      </p:cBhvr>
                                      <p:to>
                                        <p:strVal val="visible"/>
                                      </p:to>
                                    </p:set>
                                    <p:animEffect transition="in" filter="fade">
                                      <p:cBhvr>
                                        <p:cTn id="107" dur="500"/>
                                        <p:tgtEl>
                                          <p:spTgt spid="139"/>
                                        </p:tgtEl>
                                      </p:cBhvr>
                                    </p:animEffect>
                                  </p:childTnLst>
                                </p:cTn>
                              </p:par>
                              <p:par>
                                <p:cTn id="108" presetID="35" presetClass="path" presetSubtype="0" decel="100000" fill="hold" nodeType="withEffect">
                                  <p:stCondLst>
                                    <p:cond delay="1050"/>
                                  </p:stCondLst>
                                  <p:childTnLst>
                                    <p:animMotion origin="layout" path="M -3.95833E-6 -4.07407E-6 L -0.06914 -4.07407E-6 " pathEditMode="relative" rAng="0" ptsTypes="AA">
                                      <p:cBhvr>
                                        <p:cTn id="109" dur="1000" spd="-100000" fill="hold"/>
                                        <p:tgtEl>
                                          <p:spTgt spid="139"/>
                                        </p:tgtEl>
                                        <p:attrNameLst>
                                          <p:attrName>ppt_x</p:attrName>
                                          <p:attrName>ppt_y</p:attrName>
                                        </p:attrNameLst>
                                      </p:cBhvr>
                                      <p:rCtr x="-3451" y="0"/>
                                    </p:animMotion>
                                  </p:childTnLst>
                                </p:cTn>
                              </p:par>
                              <p:par>
                                <p:cTn id="110" presetID="10" presetClass="entr" presetSubtype="0" fill="hold" nodeType="withEffect">
                                  <p:stCondLst>
                                    <p:cond delay="1100"/>
                                  </p:stCondLst>
                                  <p:childTnLst>
                                    <p:set>
                                      <p:cBhvr>
                                        <p:cTn id="111" dur="1" fill="hold">
                                          <p:stCondLst>
                                            <p:cond delay="0"/>
                                          </p:stCondLst>
                                        </p:cTn>
                                        <p:tgtEl>
                                          <p:spTgt spid="157"/>
                                        </p:tgtEl>
                                        <p:attrNameLst>
                                          <p:attrName>style.visibility</p:attrName>
                                        </p:attrNameLst>
                                      </p:cBhvr>
                                      <p:to>
                                        <p:strVal val="visible"/>
                                      </p:to>
                                    </p:set>
                                    <p:animEffect transition="in" filter="fade">
                                      <p:cBhvr>
                                        <p:cTn id="112" dur="500"/>
                                        <p:tgtEl>
                                          <p:spTgt spid="157"/>
                                        </p:tgtEl>
                                      </p:cBhvr>
                                    </p:animEffect>
                                  </p:childTnLst>
                                </p:cTn>
                              </p:par>
                              <p:par>
                                <p:cTn id="113" presetID="35" presetClass="path" presetSubtype="0" decel="100000" fill="hold" nodeType="withEffect">
                                  <p:stCondLst>
                                    <p:cond delay="1100"/>
                                  </p:stCondLst>
                                  <p:childTnLst>
                                    <p:animMotion origin="layout" path="M -3.95833E-6 -4.07407E-6 L -0.06914 -4.07407E-6 " pathEditMode="relative" rAng="0" ptsTypes="AA">
                                      <p:cBhvr>
                                        <p:cTn id="114" dur="1000" spd="-100000" fill="hold"/>
                                        <p:tgtEl>
                                          <p:spTgt spid="157"/>
                                        </p:tgtEl>
                                        <p:attrNameLst>
                                          <p:attrName>ppt_x</p:attrName>
                                          <p:attrName>ppt_y</p:attrName>
                                        </p:attrNameLst>
                                      </p:cBhvr>
                                      <p:rCtr x="-3451" y="0"/>
                                    </p:animMotion>
                                  </p:childTnLst>
                                </p:cTn>
                              </p:par>
                              <p:par>
                                <p:cTn id="115" presetID="10" presetClass="entr" presetSubtype="0" fill="hold" nodeType="withEffect">
                                  <p:stCondLst>
                                    <p:cond delay="1150"/>
                                  </p:stCondLst>
                                  <p:childTnLst>
                                    <p:set>
                                      <p:cBhvr>
                                        <p:cTn id="116" dur="1" fill="hold">
                                          <p:stCondLst>
                                            <p:cond delay="0"/>
                                          </p:stCondLst>
                                        </p:cTn>
                                        <p:tgtEl>
                                          <p:spTgt spid="163"/>
                                        </p:tgtEl>
                                        <p:attrNameLst>
                                          <p:attrName>style.visibility</p:attrName>
                                        </p:attrNameLst>
                                      </p:cBhvr>
                                      <p:to>
                                        <p:strVal val="visible"/>
                                      </p:to>
                                    </p:set>
                                    <p:animEffect transition="in" filter="fade">
                                      <p:cBhvr>
                                        <p:cTn id="117" dur="500"/>
                                        <p:tgtEl>
                                          <p:spTgt spid="163"/>
                                        </p:tgtEl>
                                      </p:cBhvr>
                                    </p:animEffect>
                                  </p:childTnLst>
                                </p:cTn>
                              </p:par>
                              <p:par>
                                <p:cTn id="118" presetID="35" presetClass="path" presetSubtype="0" decel="100000" fill="hold" nodeType="withEffect">
                                  <p:stCondLst>
                                    <p:cond delay="1150"/>
                                  </p:stCondLst>
                                  <p:childTnLst>
                                    <p:animMotion origin="layout" path="M -3.95833E-6 -4.07407E-6 L -0.06914 -4.07407E-6 " pathEditMode="relative" rAng="0" ptsTypes="AA">
                                      <p:cBhvr>
                                        <p:cTn id="119" dur="1000" spd="-100000" fill="hold"/>
                                        <p:tgtEl>
                                          <p:spTgt spid="163"/>
                                        </p:tgtEl>
                                        <p:attrNameLst>
                                          <p:attrName>ppt_x</p:attrName>
                                          <p:attrName>ppt_y</p:attrName>
                                        </p:attrNameLst>
                                      </p:cBhvr>
                                      <p:rCtr x="-3451" y="0"/>
                                    </p:animMotion>
                                  </p:childTnLst>
                                </p:cTn>
                              </p:par>
                              <p:par>
                                <p:cTn id="120" presetID="10" presetClass="entr" presetSubtype="0" fill="hold" nodeType="withEffect">
                                  <p:stCondLst>
                                    <p:cond delay="1200"/>
                                  </p:stCondLst>
                                  <p:childTnLst>
                                    <p:set>
                                      <p:cBhvr>
                                        <p:cTn id="121" dur="1" fill="hold">
                                          <p:stCondLst>
                                            <p:cond delay="0"/>
                                          </p:stCondLst>
                                        </p:cTn>
                                        <p:tgtEl>
                                          <p:spTgt spid="133"/>
                                        </p:tgtEl>
                                        <p:attrNameLst>
                                          <p:attrName>style.visibility</p:attrName>
                                        </p:attrNameLst>
                                      </p:cBhvr>
                                      <p:to>
                                        <p:strVal val="visible"/>
                                      </p:to>
                                    </p:set>
                                    <p:animEffect transition="in" filter="fade">
                                      <p:cBhvr>
                                        <p:cTn id="122" dur="500"/>
                                        <p:tgtEl>
                                          <p:spTgt spid="133"/>
                                        </p:tgtEl>
                                      </p:cBhvr>
                                    </p:animEffect>
                                  </p:childTnLst>
                                </p:cTn>
                              </p:par>
                              <p:par>
                                <p:cTn id="123" presetID="35" presetClass="path" presetSubtype="0" decel="100000" fill="hold" nodeType="withEffect">
                                  <p:stCondLst>
                                    <p:cond delay="1200"/>
                                  </p:stCondLst>
                                  <p:childTnLst>
                                    <p:animMotion origin="layout" path="M -3.95833E-6 -4.07407E-6 L -0.06914 -4.07407E-6 " pathEditMode="relative" rAng="0" ptsTypes="AA">
                                      <p:cBhvr>
                                        <p:cTn id="124" dur="1000" spd="-100000" fill="hold"/>
                                        <p:tgtEl>
                                          <p:spTgt spid="133"/>
                                        </p:tgtEl>
                                        <p:attrNameLst>
                                          <p:attrName>ppt_x</p:attrName>
                                          <p:attrName>ppt_y</p:attrName>
                                        </p:attrNameLst>
                                      </p:cBhvr>
                                      <p:rCtr x="-3451" y="0"/>
                                    </p:animMotion>
                                  </p:childTnLst>
                                </p:cTn>
                              </p:par>
                              <p:par>
                                <p:cTn id="125" presetID="10" presetClass="entr" presetSubtype="0" fill="hold" nodeType="withEffect">
                                  <p:stCondLst>
                                    <p:cond delay="1250"/>
                                  </p:stCondLst>
                                  <p:childTnLst>
                                    <p:set>
                                      <p:cBhvr>
                                        <p:cTn id="126" dur="1" fill="hold">
                                          <p:stCondLst>
                                            <p:cond delay="0"/>
                                          </p:stCondLst>
                                        </p:cTn>
                                        <p:tgtEl>
                                          <p:spTgt spid="145"/>
                                        </p:tgtEl>
                                        <p:attrNameLst>
                                          <p:attrName>style.visibility</p:attrName>
                                        </p:attrNameLst>
                                      </p:cBhvr>
                                      <p:to>
                                        <p:strVal val="visible"/>
                                      </p:to>
                                    </p:set>
                                    <p:animEffect transition="in" filter="fade">
                                      <p:cBhvr>
                                        <p:cTn id="127" dur="500"/>
                                        <p:tgtEl>
                                          <p:spTgt spid="145"/>
                                        </p:tgtEl>
                                      </p:cBhvr>
                                    </p:animEffect>
                                  </p:childTnLst>
                                </p:cTn>
                              </p:par>
                              <p:par>
                                <p:cTn id="128" presetID="35" presetClass="path" presetSubtype="0" decel="100000" fill="hold" nodeType="withEffect">
                                  <p:stCondLst>
                                    <p:cond delay="1250"/>
                                  </p:stCondLst>
                                  <p:childTnLst>
                                    <p:animMotion origin="layout" path="M -3.95833E-6 -4.07407E-6 L -0.06914 -4.07407E-6 " pathEditMode="relative" rAng="0" ptsTypes="AA">
                                      <p:cBhvr>
                                        <p:cTn id="129" dur="1000" spd="-100000" fill="hold"/>
                                        <p:tgtEl>
                                          <p:spTgt spid="145"/>
                                        </p:tgtEl>
                                        <p:attrNameLst>
                                          <p:attrName>ppt_x</p:attrName>
                                          <p:attrName>ppt_y</p:attrName>
                                        </p:attrNameLst>
                                      </p:cBhvr>
                                      <p:rCtr x="-3451" y="0"/>
                                    </p:animMotion>
                                  </p:childTnLst>
                                </p:cTn>
                              </p:par>
                              <p:par>
                                <p:cTn id="130" presetID="10" presetClass="entr" presetSubtype="0" fill="hold" nodeType="withEffect">
                                  <p:stCondLst>
                                    <p:cond delay="1300"/>
                                  </p:stCondLst>
                                  <p:childTnLst>
                                    <p:set>
                                      <p:cBhvr>
                                        <p:cTn id="131" dur="1" fill="hold">
                                          <p:stCondLst>
                                            <p:cond delay="0"/>
                                          </p:stCondLst>
                                        </p:cTn>
                                        <p:tgtEl>
                                          <p:spTgt spid="109"/>
                                        </p:tgtEl>
                                        <p:attrNameLst>
                                          <p:attrName>style.visibility</p:attrName>
                                        </p:attrNameLst>
                                      </p:cBhvr>
                                      <p:to>
                                        <p:strVal val="visible"/>
                                      </p:to>
                                    </p:set>
                                    <p:animEffect transition="in" filter="fade">
                                      <p:cBhvr>
                                        <p:cTn id="132" dur="500"/>
                                        <p:tgtEl>
                                          <p:spTgt spid="109"/>
                                        </p:tgtEl>
                                      </p:cBhvr>
                                    </p:animEffect>
                                  </p:childTnLst>
                                </p:cTn>
                              </p:par>
                              <p:par>
                                <p:cTn id="133" presetID="35" presetClass="path" presetSubtype="0" decel="100000" fill="hold" nodeType="withEffect">
                                  <p:stCondLst>
                                    <p:cond delay="1300"/>
                                  </p:stCondLst>
                                  <p:childTnLst>
                                    <p:animMotion origin="layout" path="M -3.95833E-6 -4.07407E-6 L -0.06914 -4.07407E-6 " pathEditMode="relative" rAng="0" ptsTypes="AA">
                                      <p:cBhvr>
                                        <p:cTn id="134" dur="1000" spd="-100000" fill="hold"/>
                                        <p:tgtEl>
                                          <p:spTgt spid="109"/>
                                        </p:tgtEl>
                                        <p:attrNameLst>
                                          <p:attrName>ppt_x</p:attrName>
                                          <p:attrName>ppt_y</p:attrName>
                                        </p:attrNameLst>
                                      </p:cBhvr>
                                      <p:rCtr x="-3451" y="0"/>
                                    </p:animMotion>
                                  </p:childTnLst>
                                </p:cTn>
                              </p:par>
                              <p:par>
                                <p:cTn id="135" presetID="10" presetClass="entr" presetSubtype="0" fill="hold" nodeType="withEffect">
                                  <p:stCondLst>
                                    <p:cond delay="1350"/>
                                  </p:stCondLst>
                                  <p:childTnLst>
                                    <p:set>
                                      <p:cBhvr>
                                        <p:cTn id="136" dur="1" fill="hold">
                                          <p:stCondLst>
                                            <p:cond delay="0"/>
                                          </p:stCondLst>
                                        </p:cTn>
                                        <p:tgtEl>
                                          <p:spTgt spid="160"/>
                                        </p:tgtEl>
                                        <p:attrNameLst>
                                          <p:attrName>style.visibility</p:attrName>
                                        </p:attrNameLst>
                                      </p:cBhvr>
                                      <p:to>
                                        <p:strVal val="visible"/>
                                      </p:to>
                                    </p:set>
                                    <p:animEffect transition="in" filter="fade">
                                      <p:cBhvr>
                                        <p:cTn id="137" dur="500"/>
                                        <p:tgtEl>
                                          <p:spTgt spid="160"/>
                                        </p:tgtEl>
                                      </p:cBhvr>
                                    </p:animEffect>
                                  </p:childTnLst>
                                </p:cTn>
                              </p:par>
                              <p:par>
                                <p:cTn id="138" presetID="35" presetClass="path" presetSubtype="0" decel="100000" fill="hold" nodeType="withEffect">
                                  <p:stCondLst>
                                    <p:cond delay="1350"/>
                                  </p:stCondLst>
                                  <p:childTnLst>
                                    <p:animMotion origin="layout" path="M -3.95833E-6 -4.07407E-6 L -0.06914 -4.07407E-6 " pathEditMode="relative" rAng="0" ptsTypes="AA">
                                      <p:cBhvr>
                                        <p:cTn id="139" dur="1000" spd="-100000" fill="hold"/>
                                        <p:tgtEl>
                                          <p:spTgt spid="160"/>
                                        </p:tgtEl>
                                        <p:attrNameLst>
                                          <p:attrName>ppt_x</p:attrName>
                                          <p:attrName>ppt_y</p:attrName>
                                        </p:attrNameLst>
                                      </p:cBhvr>
                                      <p:rCtr x="-3451" y="0"/>
                                    </p:animMotion>
                                  </p:childTnLst>
                                </p:cTn>
                              </p:par>
                              <p:par>
                                <p:cTn id="140" presetID="10" presetClass="entr" presetSubtype="0" fill="hold" nodeType="withEffect">
                                  <p:stCondLst>
                                    <p:cond delay="1400"/>
                                  </p:stCondLst>
                                  <p:childTnLst>
                                    <p:set>
                                      <p:cBhvr>
                                        <p:cTn id="141" dur="1" fill="hold">
                                          <p:stCondLst>
                                            <p:cond delay="0"/>
                                          </p:stCondLst>
                                        </p:cTn>
                                        <p:tgtEl>
                                          <p:spTgt spid="169"/>
                                        </p:tgtEl>
                                        <p:attrNameLst>
                                          <p:attrName>style.visibility</p:attrName>
                                        </p:attrNameLst>
                                      </p:cBhvr>
                                      <p:to>
                                        <p:strVal val="visible"/>
                                      </p:to>
                                    </p:set>
                                    <p:animEffect transition="in" filter="fade">
                                      <p:cBhvr>
                                        <p:cTn id="142" dur="500"/>
                                        <p:tgtEl>
                                          <p:spTgt spid="169"/>
                                        </p:tgtEl>
                                      </p:cBhvr>
                                    </p:animEffect>
                                  </p:childTnLst>
                                </p:cTn>
                              </p:par>
                              <p:par>
                                <p:cTn id="143" presetID="35" presetClass="path" presetSubtype="0" decel="100000" fill="hold" nodeType="withEffect">
                                  <p:stCondLst>
                                    <p:cond delay="1400"/>
                                  </p:stCondLst>
                                  <p:childTnLst>
                                    <p:animMotion origin="layout" path="M -3.95833E-6 -4.07407E-6 L -0.06914 -4.07407E-6 " pathEditMode="relative" rAng="0" ptsTypes="AA">
                                      <p:cBhvr>
                                        <p:cTn id="144" dur="1000" spd="-100000" fill="hold"/>
                                        <p:tgtEl>
                                          <p:spTgt spid="169"/>
                                        </p:tgtEl>
                                        <p:attrNameLst>
                                          <p:attrName>ppt_x</p:attrName>
                                          <p:attrName>ppt_y</p:attrName>
                                        </p:attrNameLst>
                                      </p:cBhvr>
                                      <p:rCtr x="-3451" y="0"/>
                                    </p:animMotion>
                                  </p:childTnLst>
                                </p:cTn>
                              </p:par>
                              <p:par>
                                <p:cTn id="145" presetID="10" presetClass="entr" presetSubtype="0" fill="hold" nodeType="withEffect">
                                  <p:stCondLst>
                                    <p:cond delay="1450"/>
                                  </p:stCondLst>
                                  <p:childTnLst>
                                    <p:set>
                                      <p:cBhvr>
                                        <p:cTn id="146" dur="1" fill="hold">
                                          <p:stCondLst>
                                            <p:cond delay="0"/>
                                          </p:stCondLst>
                                        </p:cTn>
                                        <p:tgtEl>
                                          <p:spTgt spid="127"/>
                                        </p:tgtEl>
                                        <p:attrNameLst>
                                          <p:attrName>style.visibility</p:attrName>
                                        </p:attrNameLst>
                                      </p:cBhvr>
                                      <p:to>
                                        <p:strVal val="visible"/>
                                      </p:to>
                                    </p:set>
                                    <p:animEffect transition="in" filter="fade">
                                      <p:cBhvr>
                                        <p:cTn id="147" dur="500"/>
                                        <p:tgtEl>
                                          <p:spTgt spid="127"/>
                                        </p:tgtEl>
                                      </p:cBhvr>
                                    </p:animEffect>
                                  </p:childTnLst>
                                </p:cTn>
                              </p:par>
                              <p:par>
                                <p:cTn id="148" presetID="35" presetClass="path" presetSubtype="0" decel="100000" fill="hold" nodeType="withEffect">
                                  <p:stCondLst>
                                    <p:cond delay="1450"/>
                                  </p:stCondLst>
                                  <p:childTnLst>
                                    <p:animMotion origin="layout" path="M -3.95833E-6 -4.07407E-6 L -0.06914 -4.07407E-6 " pathEditMode="relative" rAng="0" ptsTypes="AA">
                                      <p:cBhvr>
                                        <p:cTn id="149" dur="1000" spd="-100000" fill="hold"/>
                                        <p:tgtEl>
                                          <p:spTgt spid="127"/>
                                        </p:tgtEl>
                                        <p:attrNameLst>
                                          <p:attrName>ppt_x</p:attrName>
                                          <p:attrName>ppt_y</p:attrName>
                                        </p:attrNameLst>
                                      </p:cBhvr>
                                      <p:rCtr x="-3451" y="0"/>
                                    </p:animMotion>
                                  </p:childTnLst>
                                </p:cTn>
                              </p:par>
                              <p:par>
                                <p:cTn id="150" presetID="10" presetClass="entr" presetSubtype="0" fill="hold" nodeType="withEffect">
                                  <p:stCondLst>
                                    <p:cond delay="1500"/>
                                  </p:stCondLst>
                                  <p:childTnLst>
                                    <p:set>
                                      <p:cBhvr>
                                        <p:cTn id="151" dur="1" fill="hold">
                                          <p:stCondLst>
                                            <p:cond delay="0"/>
                                          </p:stCondLst>
                                        </p:cTn>
                                        <p:tgtEl>
                                          <p:spTgt spid="124"/>
                                        </p:tgtEl>
                                        <p:attrNameLst>
                                          <p:attrName>style.visibility</p:attrName>
                                        </p:attrNameLst>
                                      </p:cBhvr>
                                      <p:to>
                                        <p:strVal val="visible"/>
                                      </p:to>
                                    </p:set>
                                    <p:animEffect transition="in" filter="fade">
                                      <p:cBhvr>
                                        <p:cTn id="152" dur="500"/>
                                        <p:tgtEl>
                                          <p:spTgt spid="124"/>
                                        </p:tgtEl>
                                      </p:cBhvr>
                                    </p:animEffect>
                                  </p:childTnLst>
                                </p:cTn>
                              </p:par>
                              <p:par>
                                <p:cTn id="153" presetID="35" presetClass="path" presetSubtype="0" decel="100000" fill="hold" nodeType="withEffect">
                                  <p:stCondLst>
                                    <p:cond delay="1500"/>
                                  </p:stCondLst>
                                  <p:childTnLst>
                                    <p:animMotion origin="layout" path="M -3.95833E-6 -4.07407E-6 L -0.06914 -4.07407E-6 " pathEditMode="relative" rAng="0" ptsTypes="AA">
                                      <p:cBhvr>
                                        <p:cTn id="154" dur="1000" spd="-100000" fill="hold"/>
                                        <p:tgtEl>
                                          <p:spTgt spid="124"/>
                                        </p:tgtEl>
                                        <p:attrNameLst>
                                          <p:attrName>ppt_x</p:attrName>
                                          <p:attrName>ppt_y</p:attrName>
                                        </p:attrNameLst>
                                      </p:cBhvr>
                                      <p:rCtr x="-3451" y="0"/>
                                    </p:animMotion>
                                  </p:childTnLst>
                                </p:cTn>
                              </p:par>
                              <p:par>
                                <p:cTn id="155" presetID="10" presetClass="entr" presetSubtype="0" fill="hold" nodeType="withEffect">
                                  <p:stCondLst>
                                    <p:cond delay="1550"/>
                                  </p:stCondLst>
                                  <p:childTnLst>
                                    <p:set>
                                      <p:cBhvr>
                                        <p:cTn id="156" dur="1" fill="hold">
                                          <p:stCondLst>
                                            <p:cond delay="0"/>
                                          </p:stCondLst>
                                        </p:cTn>
                                        <p:tgtEl>
                                          <p:spTgt spid="196"/>
                                        </p:tgtEl>
                                        <p:attrNameLst>
                                          <p:attrName>style.visibility</p:attrName>
                                        </p:attrNameLst>
                                      </p:cBhvr>
                                      <p:to>
                                        <p:strVal val="visible"/>
                                      </p:to>
                                    </p:set>
                                    <p:animEffect transition="in" filter="fade">
                                      <p:cBhvr>
                                        <p:cTn id="157" dur="500"/>
                                        <p:tgtEl>
                                          <p:spTgt spid="196"/>
                                        </p:tgtEl>
                                      </p:cBhvr>
                                    </p:animEffect>
                                  </p:childTnLst>
                                </p:cTn>
                              </p:par>
                              <p:par>
                                <p:cTn id="158" presetID="35" presetClass="path" presetSubtype="0" decel="100000" fill="hold" nodeType="withEffect">
                                  <p:stCondLst>
                                    <p:cond delay="1550"/>
                                  </p:stCondLst>
                                  <p:childTnLst>
                                    <p:animMotion origin="layout" path="M -3.95833E-6 -4.07407E-6 L -0.06914 -4.07407E-6 " pathEditMode="relative" rAng="0" ptsTypes="AA">
                                      <p:cBhvr>
                                        <p:cTn id="159" dur="1000" spd="-100000" fill="hold"/>
                                        <p:tgtEl>
                                          <p:spTgt spid="196"/>
                                        </p:tgtEl>
                                        <p:attrNameLst>
                                          <p:attrName>ppt_x</p:attrName>
                                          <p:attrName>ppt_y</p:attrName>
                                        </p:attrNameLst>
                                      </p:cBhvr>
                                      <p:rCtr x="-3451" y="0"/>
                                    </p:animMotion>
                                  </p:childTnLst>
                                </p:cTn>
                              </p:par>
                              <p:par>
                                <p:cTn id="160" presetID="10" presetClass="entr" presetSubtype="0" fill="hold" nodeType="withEffect">
                                  <p:stCondLst>
                                    <p:cond delay="1600"/>
                                  </p:stCondLst>
                                  <p:childTnLst>
                                    <p:set>
                                      <p:cBhvr>
                                        <p:cTn id="161" dur="1" fill="hold">
                                          <p:stCondLst>
                                            <p:cond delay="0"/>
                                          </p:stCondLst>
                                        </p:cTn>
                                        <p:tgtEl>
                                          <p:spTgt spid="166"/>
                                        </p:tgtEl>
                                        <p:attrNameLst>
                                          <p:attrName>style.visibility</p:attrName>
                                        </p:attrNameLst>
                                      </p:cBhvr>
                                      <p:to>
                                        <p:strVal val="visible"/>
                                      </p:to>
                                    </p:set>
                                    <p:animEffect transition="in" filter="fade">
                                      <p:cBhvr>
                                        <p:cTn id="162" dur="500"/>
                                        <p:tgtEl>
                                          <p:spTgt spid="166"/>
                                        </p:tgtEl>
                                      </p:cBhvr>
                                    </p:animEffect>
                                  </p:childTnLst>
                                </p:cTn>
                              </p:par>
                              <p:par>
                                <p:cTn id="163" presetID="35" presetClass="path" presetSubtype="0" decel="100000" fill="hold" nodeType="withEffect">
                                  <p:stCondLst>
                                    <p:cond delay="1600"/>
                                  </p:stCondLst>
                                  <p:childTnLst>
                                    <p:animMotion origin="layout" path="M -3.95833E-6 -4.07407E-6 L -0.06914 -4.07407E-6 " pathEditMode="relative" rAng="0" ptsTypes="AA">
                                      <p:cBhvr>
                                        <p:cTn id="164" dur="1000" spd="-100000" fill="hold"/>
                                        <p:tgtEl>
                                          <p:spTgt spid="166"/>
                                        </p:tgtEl>
                                        <p:attrNameLst>
                                          <p:attrName>ppt_x</p:attrName>
                                          <p:attrName>ppt_y</p:attrName>
                                        </p:attrNameLst>
                                      </p:cBhvr>
                                      <p:rCtr x="-3451" y="0"/>
                                    </p:animMotion>
                                  </p:childTnLst>
                                </p:cTn>
                              </p:par>
                              <p:par>
                                <p:cTn id="165" presetID="10" presetClass="entr" presetSubtype="0" fill="hold" nodeType="withEffect">
                                  <p:stCondLst>
                                    <p:cond delay="2250"/>
                                  </p:stCondLst>
                                  <p:childTnLst>
                                    <p:set>
                                      <p:cBhvr>
                                        <p:cTn id="166" dur="1" fill="hold">
                                          <p:stCondLst>
                                            <p:cond delay="0"/>
                                          </p:stCondLst>
                                        </p:cTn>
                                        <p:tgtEl>
                                          <p:spTgt spid="94"/>
                                        </p:tgtEl>
                                        <p:attrNameLst>
                                          <p:attrName>style.visibility</p:attrName>
                                        </p:attrNameLst>
                                      </p:cBhvr>
                                      <p:to>
                                        <p:strVal val="visible"/>
                                      </p:to>
                                    </p:set>
                                    <p:animEffect transition="in" filter="fade">
                                      <p:cBhvr>
                                        <p:cTn id="167" dur="1000"/>
                                        <p:tgtEl>
                                          <p:spTgt spid="94"/>
                                        </p:tgtEl>
                                      </p:cBhvr>
                                    </p:animEffect>
                                  </p:childTnLst>
                                </p:cTn>
                              </p:par>
                              <p:par>
                                <p:cTn id="168" presetID="10" presetClass="entr" presetSubtype="0" fill="hold" nodeType="withEffect">
                                  <p:stCondLst>
                                    <p:cond delay="3250"/>
                                  </p:stCondLst>
                                  <p:childTnLst>
                                    <p:set>
                                      <p:cBhvr>
                                        <p:cTn id="169" dur="1" fill="hold">
                                          <p:stCondLst>
                                            <p:cond delay="0"/>
                                          </p:stCondLst>
                                        </p:cTn>
                                        <p:tgtEl>
                                          <p:spTgt spid="199"/>
                                        </p:tgtEl>
                                        <p:attrNameLst>
                                          <p:attrName>style.visibility</p:attrName>
                                        </p:attrNameLst>
                                      </p:cBhvr>
                                      <p:to>
                                        <p:strVal val="visible"/>
                                      </p:to>
                                    </p:set>
                                    <p:animEffect transition="in" filter="fade">
                                      <p:cBhvr>
                                        <p:cTn id="170" dur="500"/>
                                        <p:tgtEl>
                                          <p:spTgt spid="199"/>
                                        </p:tgtEl>
                                      </p:cBhvr>
                                    </p:animEffect>
                                  </p:childTnLst>
                                </p:cTn>
                              </p:par>
                              <p:par>
                                <p:cTn id="171" presetID="6" presetClass="emph" presetSubtype="0" fill="hold" nodeType="withEffect">
                                  <p:stCondLst>
                                    <p:cond delay="3000"/>
                                  </p:stCondLst>
                                  <p:childTnLst>
                                    <p:animScale>
                                      <p:cBhvr>
                                        <p:cTn id="172" dur="10" fill="hold"/>
                                        <p:tgtEl>
                                          <p:spTgt spid="199"/>
                                        </p:tgtEl>
                                      </p:cBhvr>
                                      <p:by x="1000" y="1000"/>
                                    </p:animScale>
                                  </p:childTnLst>
                                </p:cTn>
                              </p:par>
                              <p:par>
                                <p:cTn id="173" presetID="6" presetClass="emph" presetSubtype="0" decel="100000" fill="hold" nodeType="withEffect">
                                  <p:stCondLst>
                                    <p:cond delay="3250"/>
                                  </p:stCondLst>
                                  <p:childTnLst>
                                    <p:animScale>
                                      <p:cBhvr>
                                        <p:cTn id="174" dur="1000" fill="hold"/>
                                        <p:tgtEl>
                                          <p:spTgt spid="199"/>
                                        </p:tgtEl>
                                      </p:cBhvr>
                                      <p:by x="9999000" y="9999000"/>
                                    </p:animScale>
                                  </p:childTnLst>
                                </p:cTn>
                              </p:par>
                              <p:par>
                                <p:cTn id="175" presetID="10" presetClass="entr" presetSubtype="0" fill="hold" grpId="0" nodeType="withEffect">
                                  <p:stCondLst>
                                    <p:cond delay="3500"/>
                                  </p:stCondLst>
                                  <p:childTnLst>
                                    <p:set>
                                      <p:cBhvr>
                                        <p:cTn id="176" dur="1" fill="hold">
                                          <p:stCondLst>
                                            <p:cond delay="0"/>
                                          </p:stCondLst>
                                        </p:cTn>
                                        <p:tgtEl>
                                          <p:spTgt spid="62"/>
                                        </p:tgtEl>
                                        <p:attrNameLst>
                                          <p:attrName>style.visibility</p:attrName>
                                        </p:attrNameLst>
                                      </p:cBhvr>
                                      <p:to>
                                        <p:strVal val="visible"/>
                                      </p:to>
                                    </p:set>
                                    <p:animEffect transition="in" filter="fade">
                                      <p:cBhvr>
                                        <p:cTn id="177" dur="500"/>
                                        <p:tgtEl>
                                          <p:spTgt spid="62"/>
                                        </p:tgtEl>
                                      </p:cBhvr>
                                    </p:animEffect>
                                  </p:childTnLst>
                                </p:cTn>
                              </p:par>
                              <p:par>
                                <p:cTn id="178" presetID="10" presetClass="entr" presetSubtype="0" fill="hold" grpId="0" nodeType="withEffect">
                                  <p:stCondLst>
                                    <p:cond delay="2500"/>
                                  </p:stCondLst>
                                  <p:childTnLst>
                                    <p:set>
                                      <p:cBhvr>
                                        <p:cTn id="179" dur="1" fill="hold">
                                          <p:stCondLst>
                                            <p:cond delay="0"/>
                                          </p:stCondLst>
                                        </p:cTn>
                                        <p:tgtEl>
                                          <p:spTgt spid="61"/>
                                        </p:tgtEl>
                                        <p:attrNameLst>
                                          <p:attrName>style.visibility</p:attrName>
                                        </p:attrNameLst>
                                      </p:cBhvr>
                                      <p:to>
                                        <p:strVal val="visible"/>
                                      </p:to>
                                    </p:set>
                                    <p:animEffect transition="in" filter="fade">
                                      <p:cBhvr>
                                        <p:cTn id="180" dur="1000"/>
                                        <p:tgtEl>
                                          <p:spTgt spid="61"/>
                                        </p:tgtEl>
                                      </p:cBhvr>
                                    </p:animEffect>
                                  </p:childTnLst>
                                </p:cTn>
                              </p:par>
                              <p:par>
                                <p:cTn id="181" presetID="6" presetClass="emph" presetSubtype="0" fill="hold" grpId="1" nodeType="withEffect">
                                  <p:stCondLst>
                                    <p:cond delay="2250"/>
                                  </p:stCondLst>
                                  <p:childTnLst>
                                    <p:animScale>
                                      <p:cBhvr>
                                        <p:cTn id="182" dur="10" fill="hold"/>
                                        <p:tgtEl>
                                          <p:spTgt spid="61"/>
                                        </p:tgtEl>
                                      </p:cBhvr>
                                      <p:by x="1000" y="1000"/>
                                    </p:animScale>
                                  </p:childTnLst>
                                </p:cTn>
                              </p:par>
                              <p:par>
                                <p:cTn id="183" presetID="6" presetClass="emph" presetSubtype="0" decel="100000" fill="hold" grpId="2" nodeType="withEffect">
                                  <p:stCondLst>
                                    <p:cond delay="2500"/>
                                  </p:stCondLst>
                                  <p:childTnLst>
                                    <p:animScale>
                                      <p:cBhvr>
                                        <p:cTn id="184" dur="1500" fill="hold"/>
                                        <p:tgtEl>
                                          <p:spTgt spid="61"/>
                                        </p:tgtEl>
                                      </p:cBhvr>
                                      <p:by x="9999000" y="9999000"/>
                                    </p:animScale>
                                  </p:childTnLst>
                                </p:cTn>
                              </p:par>
                              <p:par>
                                <p:cTn id="185" presetID="2" presetClass="entr" presetSubtype="2" decel="100000" fill="hold" nodeType="withEffect">
                                  <p:stCondLst>
                                    <p:cond delay="2500"/>
                                  </p:stCondLst>
                                  <p:childTnLst>
                                    <p:set>
                                      <p:cBhvr>
                                        <p:cTn id="186" dur="1" fill="hold">
                                          <p:stCondLst>
                                            <p:cond delay="0"/>
                                          </p:stCondLst>
                                        </p:cTn>
                                        <p:tgtEl>
                                          <p:spTgt spid="63"/>
                                        </p:tgtEl>
                                        <p:attrNameLst>
                                          <p:attrName>style.visibility</p:attrName>
                                        </p:attrNameLst>
                                      </p:cBhvr>
                                      <p:to>
                                        <p:strVal val="visible"/>
                                      </p:to>
                                    </p:set>
                                    <p:anim calcmode="lin" valueType="num">
                                      <p:cBhvr additive="base">
                                        <p:cTn id="187" dur="1500" fill="hold"/>
                                        <p:tgtEl>
                                          <p:spTgt spid="63"/>
                                        </p:tgtEl>
                                        <p:attrNameLst>
                                          <p:attrName>ppt_x</p:attrName>
                                        </p:attrNameLst>
                                      </p:cBhvr>
                                      <p:tavLst>
                                        <p:tav tm="0">
                                          <p:val>
                                            <p:strVal val="1+#ppt_w/2"/>
                                          </p:val>
                                        </p:tav>
                                        <p:tav tm="100000">
                                          <p:val>
                                            <p:strVal val="#ppt_x"/>
                                          </p:val>
                                        </p:tav>
                                      </p:tavLst>
                                    </p:anim>
                                    <p:anim calcmode="lin" valueType="num">
                                      <p:cBhvr additive="base">
                                        <p:cTn id="188" dur="1500" fill="hold"/>
                                        <p:tgtEl>
                                          <p:spTgt spid="63"/>
                                        </p:tgtEl>
                                        <p:attrNameLst>
                                          <p:attrName>ppt_y</p:attrName>
                                        </p:attrNameLst>
                                      </p:cBhvr>
                                      <p:tavLst>
                                        <p:tav tm="0">
                                          <p:val>
                                            <p:strVal val="#ppt_y"/>
                                          </p:val>
                                        </p:tav>
                                        <p:tav tm="100000">
                                          <p:val>
                                            <p:strVal val="#ppt_y"/>
                                          </p:val>
                                        </p:tav>
                                      </p:tavLst>
                                    </p:anim>
                                  </p:childTnLst>
                                </p:cTn>
                              </p:par>
                              <p:par>
                                <p:cTn id="189" presetID="10" presetClass="entr" presetSubtype="0" fill="hold" nodeType="withEffect">
                                  <p:stCondLst>
                                    <p:cond delay="3000"/>
                                  </p:stCondLst>
                                  <p:childTnLst>
                                    <p:set>
                                      <p:cBhvr>
                                        <p:cTn id="190" dur="1" fill="hold">
                                          <p:stCondLst>
                                            <p:cond delay="0"/>
                                          </p:stCondLst>
                                        </p:cTn>
                                        <p:tgtEl>
                                          <p:spTgt spid="105"/>
                                        </p:tgtEl>
                                        <p:attrNameLst>
                                          <p:attrName>style.visibility</p:attrName>
                                        </p:attrNameLst>
                                      </p:cBhvr>
                                      <p:to>
                                        <p:strVal val="visible"/>
                                      </p:to>
                                    </p:set>
                                    <p:animEffect transition="in" filter="fade">
                                      <p:cBhvr>
                                        <p:cTn id="191" dur="500"/>
                                        <p:tgtEl>
                                          <p:spTgt spid="105"/>
                                        </p:tgtEl>
                                      </p:cBhvr>
                                    </p:animEffect>
                                  </p:childTnLst>
                                </p:cTn>
                              </p:par>
                              <p:par>
                                <p:cTn id="192" presetID="35" presetClass="path" presetSubtype="0" decel="100000" fill="hold" nodeType="withEffect">
                                  <p:stCondLst>
                                    <p:cond delay="3000"/>
                                  </p:stCondLst>
                                  <p:childTnLst>
                                    <p:animMotion origin="layout" path="M -2.91667E-6 -1.85185E-6 L 0.07006 -1.85185E-6 " pathEditMode="relative" rAng="0" ptsTypes="AA">
                                      <p:cBhvr>
                                        <p:cTn id="193" dur="1000" spd="-100000" fill="hold"/>
                                        <p:tgtEl>
                                          <p:spTgt spid="105"/>
                                        </p:tgtEl>
                                        <p:attrNameLst>
                                          <p:attrName>ppt_x</p:attrName>
                                          <p:attrName>ppt_y</p:attrName>
                                        </p:attrNameLst>
                                      </p:cBhvr>
                                      <p:rCtr x="3503" y="0"/>
                                    </p:animMotion>
                                  </p:childTnLst>
                                </p:cTn>
                              </p:par>
                              <p:par>
                                <p:cTn id="194" presetID="10" presetClass="entr" presetSubtype="0" fill="hold" nodeType="withEffect">
                                  <p:stCondLst>
                                    <p:cond delay="3050"/>
                                  </p:stCondLst>
                                  <p:childTnLst>
                                    <p:set>
                                      <p:cBhvr>
                                        <p:cTn id="195" dur="1" fill="hold">
                                          <p:stCondLst>
                                            <p:cond delay="0"/>
                                          </p:stCondLst>
                                        </p:cTn>
                                        <p:tgtEl>
                                          <p:spTgt spid="99"/>
                                        </p:tgtEl>
                                        <p:attrNameLst>
                                          <p:attrName>style.visibility</p:attrName>
                                        </p:attrNameLst>
                                      </p:cBhvr>
                                      <p:to>
                                        <p:strVal val="visible"/>
                                      </p:to>
                                    </p:set>
                                    <p:animEffect transition="in" filter="fade">
                                      <p:cBhvr>
                                        <p:cTn id="196" dur="500"/>
                                        <p:tgtEl>
                                          <p:spTgt spid="99"/>
                                        </p:tgtEl>
                                      </p:cBhvr>
                                    </p:animEffect>
                                  </p:childTnLst>
                                </p:cTn>
                              </p:par>
                              <p:par>
                                <p:cTn id="197" presetID="35" presetClass="path" presetSubtype="0" decel="100000" fill="hold" nodeType="withEffect">
                                  <p:stCondLst>
                                    <p:cond delay="3050"/>
                                  </p:stCondLst>
                                  <p:childTnLst>
                                    <p:animMotion origin="layout" path="M -2.91667E-6 -1.85185E-6 L 0.07006 -1.85185E-6 " pathEditMode="relative" rAng="0" ptsTypes="AA">
                                      <p:cBhvr>
                                        <p:cTn id="198" dur="1000" spd="-100000" fill="hold"/>
                                        <p:tgtEl>
                                          <p:spTgt spid="99"/>
                                        </p:tgtEl>
                                        <p:attrNameLst>
                                          <p:attrName>ppt_x</p:attrName>
                                          <p:attrName>ppt_y</p:attrName>
                                        </p:attrNameLst>
                                      </p:cBhvr>
                                      <p:rCtr x="3503" y="0"/>
                                    </p:animMotion>
                                  </p:childTnLst>
                                </p:cTn>
                              </p:par>
                              <p:par>
                                <p:cTn id="199" presetID="10" presetClass="entr" presetSubtype="0" fill="hold" nodeType="withEffect">
                                  <p:stCondLst>
                                    <p:cond delay="3100"/>
                                  </p:stCondLst>
                                  <p:childTnLst>
                                    <p:set>
                                      <p:cBhvr>
                                        <p:cTn id="200" dur="1" fill="hold">
                                          <p:stCondLst>
                                            <p:cond delay="0"/>
                                          </p:stCondLst>
                                        </p:cTn>
                                        <p:tgtEl>
                                          <p:spTgt spid="102"/>
                                        </p:tgtEl>
                                        <p:attrNameLst>
                                          <p:attrName>style.visibility</p:attrName>
                                        </p:attrNameLst>
                                      </p:cBhvr>
                                      <p:to>
                                        <p:strVal val="visible"/>
                                      </p:to>
                                    </p:set>
                                    <p:animEffect transition="in" filter="fade">
                                      <p:cBhvr>
                                        <p:cTn id="201" dur="500"/>
                                        <p:tgtEl>
                                          <p:spTgt spid="102"/>
                                        </p:tgtEl>
                                      </p:cBhvr>
                                    </p:animEffect>
                                  </p:childTnLst>
                                </p:cTn>
                              </p:par>
                              <p:par>
                                <p:cTn id="202" presetID="35" presetClass="path" presetSubtype="0" decel="100000" fill="hold" nodeType="withEffect">
                                  <p:stCondLst>
                                    <p:cond delay="3100"/>
                                  </p:stCondLst>
                                  <p:childTnLst>
                                    <p:animMotion origin="layout" path="M -2.91667E-6 -1.85185E-6 L 0.07006 -1.85185E-6 " pathEditMode="relative" rAng="0" ptsTypes="AA">
                                      <p:cBhvr>
                                        <p:cTn id="203" dur="1000" spd="-100000" fill="hold"/>
                                        <p:tgtEl>
                                          <p:spTgt spid="102"/>
                                        </p:tgtEl>
                                        <p:attrNameLst>
                                          <p:attrName>ppt_x</p:attrName>
                                          <p:attrName>ppt_y</p:attrName>
                                        </p:attrNameLst>
                                      </p:cBhvr>
                                      <p:rCtr x="3503" y="0"/>
                                    </p:animMotion>
                                  </p:childTnLst>
                                </p:cTn>
                              </p:par>
                              <p:par>
                                <p:cTn id="204" presetID="10" presetClass="entr" presetSubtype="0" fill="hold" nodeType="withEffect">
                                  <p:stCondLst>
                                    <p:cond delay="3500"/>
                                  </p:stCondLst>
                                  <p:childTnLst>
                                    <p:set>
                                      <p:cBhvr>
                                        <p:cTn id="205" dur="1" fill="hold">
                                          <p:stCondLst>
                                            <p:cond delay="0"/>
                                          </p:stCondLst>
                                        </p:cTn>
                                        <p:tgtEl>
                                          <p:spTgt spid="89"/>
                                        </p:tgtEl>
                                        <p:attrNameLst>
                                          <p:attrName>style.visibility</p:attrName>
                                        </p:attrNameLst>
                                      </p:cBhvr>
                                      <p:to>
                                        <p:strVal val="visible"/>
                                      </p:to>
                                    </p:set>
                                    <p:animEffect transition="in" filter="fade">
                                      <p:cBhvr>
                                        <p:cTn id="206" dur="1000"/>
                                        <p:tgtEl>
                                          <p:spTgt spid="89"/>
                                        </p:tgtEl>
                                      </p:cBhvr>
                                    </p:animEffect>
                                  </p:childTnLst>
                                </p:cTn>
                              </p:par>
                              <p:par>
                                <p:cTn id="207" presetID="10" presetClass="entr" presetSubtype="0" fill="hold" grpId="0" nodeType="withEffect">
                                  <p:stCondLst>
                                    <p:cond delay="3000"/>
                                  </p:stCondLst>
                                  <p:childTnLst>
                                    <p:set>
                                      <p:cBhvr>
                                        <p:cTn id="208" dur="1" fill="hold">
                                          <p:stCondLst>
                                            <p:cond delay="0"/>
                                          </p:stCondLst>
                                        </p:cTn>
                                        <p:tgtEl>
                                          <p:spTgt spid="60"/>
                                        </p:tgtEl>
                                        <p:attrNameLst>
                                          <p:attrName>style.visibility</p:attrName>
                                        </p:attrNameLst>
                                      </p:cBhvr>
                                      <p:to>
                                        <p:strVal val="visible"/>
                                      </p:to>
                                    </p:set>
                                    <p:animEffect transition="in" filter="fade">
                                      <p:cBhvr>
                                        <p:cTn id="209" dur="1000"/>
                                        <p:tgtEl>
                                          <p:spTgt spid="60"/>
                                        </p:tgtEl>
                                      </p:cBhvr>
                                    </p:animEffect>
                                  </p:childTnLst>
                                </p:cTn>
                              </p:par>
                            </p:childTnLst>
                          </p:cTn>
                        </p:par>
                      </p:childTnLst>
                    </p:cTn>
                  </p:par>
                  <p:par>
                    <p:cTn id="210" fill="hold">
                      <p:stCondLst>
                        <p:cond delay="indefinite"/>
                      </p:stCondLst>
                      <p:childTnLst>
                        <p:par>
                          <p:cTn id="211" fill="hold">
                            <p:stCondLst>
                              <p:cond delay="0"/>
                            </p:stCondLst>
                            <p:childTnLst>
                              <p:par>
                                <p:cTn id="212" presetID="10" presetClass="exit" presetSubtype="0" fill="hold" nodeType="clickEffect">
                                  <p:stCondLst>
                                    <p:cond delay="0"/>
                                  </p:stCondLst>
                                  <p:childTnLst>
                                    <p:animEffect transition="out" filter="fade">
                                      <p:cBhvr>
                                        <p:cTn id="213" dur="500"/>
                                        <p:tgtEl>
                                          <p:spTgt spid="109"/>
                                        </p:tgtEl>
                                      </p:cBhvr>
                                    </p:animEffect>
                                    <p:set>
                                      <p:cBhvr>
                                        <p:cTn id="214" dur="1" fill="hold">
                                          <p:stCondLst>
                                            <p:cond delay="499"/>
                                          </p:stCondLst>
                                        </p:cTn>
                                        <p:tgtEl>
                                          <p:spTgt spid="109"/>
                                        </p:tgtEl>
                                        <p:attrNameLst>
                                          <p:attrName>style.visibility</p:attrName>
                                        </p:attrNameLst>
                                      </p:cBhvr>
                                      <p:to>
                                        <p:strVal val="hidden"/>
                                      </p:to>
                                    </p:set>
                                  </p:childTnLst>
                                </p:cTn>
                              </p:par>
                              <p:par>
                                <p:cTn id="215" presetID="10" presetClass="exit" presetSubtype="0" fill="hold" nodeType="withEffect">
                                  <p:stCondLst>
                                    <p:cond delay="0"/>
                                  </p:stCondLst>
                                  <p:childTnLst>
                                    <p:animEffect transition="out" filter="fade">
                                      <p:cBhvr>
                                        <p:cTn id="216" dur="500"/>
                                        <p:tgtEl>
                                          <p:spTgt spid="112"/>
                                        </p:tgtEl>
                                      </p:cBhvr>
                                    </p:animEffect>
                                    <p:set>
                                      <p:cBhvr>
                                        <p:cTn id="217" dur="1" fill="hold">
                                          <p:stCondLst>
                                            <p:cond delay="499"/>
                                          </p:stCondLst>
                                        </p:cTn>
                                        <p:tgtEl>
                                          <p:spTgt spid="112"/>
                                        </p:tgtEl>
                                        <p:attrNameLst>
                                          <p:attrName>style.visibility</p:attrName>
                                        </p:attrNameLst>
                                      </p:cBhvr>
                                      <p:to>
                                        <p:strVal val="hidden"/>
                                      </p:to>
                                    </p:set>
                                  </p:childTnLst>
                                </p:cTn>
                              </p:par>
                              <p:par>
                                <p:cTn id="218" presetID="10" presetClass="exit" presetSubtype="0" fill="hold" nodeType="withEffect">
                                  <p:stCondLst>
                                    <p:cond delay="0"/>
                                  </p:stCondLst>
                                  <p:childTnLst>
                                    <p:animEffect transition="out" filter="fade">
                                      <p:cBhvr>
                                        <p:cTn id="219" dur="500"/>
                                        <p:tgtEl>
                                          <p:spTgt spid="115"/>
                                        </p:tgtEl>
                                      </p:cBhvr>
                                    </p:animEffect>
                                    <p:set>
                                      <p:cBhvr>
                                        <p:cTn id="220" dur="1" fill="hold">
                                          <p:stCondLst>
                                            <p:cond delay="499"/>
                                          </p:stCondLst>
                                        </p:cTn>
                                        <p:tgtEl>
                                          <p:spTgt spid="115"/>
                                        </p:tgtEl>
                                        <p:attrNameLst>
                                          <p:attrName>style.visibility</p:attrName>
                                        </p:attrNameLst>
                                      </p:cBhvr>
                                      <p:to>
                                        <p:strVal val="hidden"/>
                                      </p:to>
                                    </p:set>
                                  </p:childTnLst>
                                </p:cTn>
                              </p:par>
                              <p:par>
                                <p:cTn id="221" presetID="10" presetClass="exit" presetSubtype="0" fill="hold" nodeType="withEffect">
                                  <p:stCondLst>
                                    <p:cond delay="0"/>
                                  </p:stCondLst>
                                  <p:childTnLst>
                                    <p:animEffect transition="out" filter="fade">
                                      <p:cBhvr>
                                        <p:cTn id="222" dur="500"/>
                                        <p:tgtEl>
                                          <p:spTgt spid="118"/>
                                        </p:tgtEl>
                                      </p:cBhvr>
                                    </p:animEffect>
                                    <p:set>
                                      <p:cBhvr>
                                        <p:cTn id="223" dur="1" fill="hold">
                                          <p:stCondLst>
                                            <p:cond delay="499"/>
                                          </p:stCondLst>
                                        </p:cTn>
                                        <p:tgtEl>
                                          <p:spTgt spid="118"/>
                                        </p:tgtEl>
                                        <p:attrNameLst>
                                          <p:attrName>style.visibility</p:attrName>
                                        </p:attrNameLst>
                                      </p:cBhvr>
                                      <p:to>
                                        <p:strVal val="hidden"/>
                                      </p:to>
                                    </p:set>
                                  </p:childTnLst>
                                </p:cTn>
                              </p:par>
                              <p:par>
                                <p:cTn id="224" presetID="10" presetClass="exit" presetSubtype="0" fill="hold" nodeType="withEffect">
                                  <p:stCondLst>
                                    <p:cond delay="0"/>
                                  </p:stCondLst>
                                  <p:childTnLst>
                                    <p:animEffect transition="out" filter="fade">
                                      <p:cBhvr>
                                        <p:cTn id="225" dur="500"/>
                                        <p:tgtEl>
                                          <p:spTgt spid="121"/>
                                        </p:tgtEl>
                                      </p:cBhvr>
                                    </p:animEffect>
                                    <p:set>
                                      <p:cBhvr>
                                        <p:cTn id="226" dur="1" fill="hold">
                                          <p:stCondLst>
                                            <p:cond delay="499"/>
                                          </p:stCondLst>
                                        </p:cTn>
                                        <p:tgtEl>
                                          <p:spTgt spid="121"/>
                                        </p:tgtEl>
                                        <p:attrNameLst>
                                          <p:attrName>style.visibility</p:attrName>
                                        </p:attrNameLst>
                                      </p:cBhvr>
                                      <p:to>
                                        <p:strVal val="hidden"/>
                                      </p:to>
                                    </p:set>
                                  </p:childTnLst>
                                </p:cTn>
                              </p:par>
                              <p:par>
                                <p:cTn id="227" presetID="10" presetClass="exit" presetSubtype="0" fill="hold" nodeType="withEffect">
                                  <p:stCondLst>
                                    <p:cond delay="0"/>
                                  </p:stCondLst>
                                  <p:childTnLst>
                                    <p:animEffect transition="out" filter="fade">
                                      <p:cBhvr>
                                        <p:cTn id="228" dur="500"/>
                                        <p:tgtEl>
                                          <p:spTgt spid="124"/>
                                        </p:tgtEl>
                                      </p:cBhvr>
                                    </p:animEffect>
                                    <p:set>
                                      <p:cBhvr>
                                        <p:cTn id="229" dur="1" fill="hold">
                                          <p:stCondLst>
                                            <p:cond delay="499"/>
                                          </p:stCondLst>
                                        </p:cTn>
                                        <p:tgtEl>
                                          <p:spTgt spid="124"/>
                                        </p:tgtEl>
                                        <p:attrNameLst>
                                          <p:attrName>style.visibility</p:attrName>
                                        </p:attrNameLst>
                                      </p:cBhvr>
                                      <p:to>
                                        <p:strVal val="hidden"/>
                                      </p:to>
                                    </p:set>
                                  </p:childTnLst>
                                </p:cTn>
                              </p:par>
                              <p:par>
                                <p:cTn id="230" presetID="10" presetClass="exit" presetSubtype="0" fill="hold" nodeType="withEffect">
                                  <p:stCondLst>
                                    <p:cond delay="0"/>
                                  </p:stCondLst>
                                  <p:childTnLst>
                                    <p:animEffect transition="out" filter="fade">
                                      <p:cBhvr>
                                        <p:cTn id="231" dur="500"/>
                                        <p:tgtEl>
                                          <p:spTgt spid="127"/>
                                        </p:tgtEl>
                                      </p:cBhvr>
                                    </p:animEffect>
                                    <p:set>
                                      <p:cBhvr>
                                        <p:cTn id="232" dur="1" fill="hold">
                                          <p:stCondLst>
                                            <p:cond delay="499"/>
                                          </p:stCondLst>
                                        </p:cTn>
                                        <p:tgtEl>
                                          <p:spTgt spid="127"/>
                                        </p:tgtEl>
                                        <p:attrNameLst>
                                          <p:attrName>style.visibility</p:attrName>
                                        </p:attrNameLst>
                                      </p:cBhvr>
                                      <p:to>
                                        <p:strVal val="hidden"/>
                                      </p:to>
                                    </p:set>
                                  </p:childTnLst>
                                </p:cTn>
                              </p:par>
                              <p:par>
                                <p:cTn id="233" presetID="10" presetClass="exit" presetSubtype="0" fill="hold" nodeType="withEffect">
                                  <p:stCondLst>
                                    <p:cond delay="0"/>
                                  </p:stCondLst>
                                  <p:childTnLst>
                                    <p:animEffect transition="out" filter="fade">
                                      <p:cBhvr>
                                        <p:cTn id="234" dur="500"/>
                                        <p:tgtEl>
                                          <p:spTgt spid="130"/>
                                        </p:tgtEl>
                                      </p:cBhvr>
                                    </p:animEffect>
                                    <p:set>
                                      <p:cBhvr>
                                        <p:cTn id="235" dur="1" fill="hold">
                                          <p:stCondLst>
                                            <p:cond delay="499"/>
                                          </p:stCondLst>
                                        </p:cTn>
                                        <p:tgtEl>
                                          <p:spTgt spid="130"/>
                                        </p:tgtEl>
                                        <p:attrNameLst>
                                          <p:attrName>style.visibility</p:attrName>
                                        </p:attrNameLst>
                                      </p:cBhvr>
                                      <p:to>
                                        <p:strVal val="hidden"/>
                                      </p:to>
                                    </p:set>
                                  </p:childTnLst>
                                </p:cTn>
                              </p:par>
                              <p:par>
                                <p:cTn id="236" presetID="10" presetClass="exit" presetSubtype="0" fill="hold" nodeType="withEffect">
                                  <p:stCondLst>
                                    <p:cond delay="0"/>
                                  </p:stCondLst>
                                  <p:childTnLst>
                                    <p:animEffect transition="out" filter="fade">
                                      <p:cBhvr>
                                        <p:cTn id="237" dur="500"/>
                                        <p:tgtEl>
                                          <p:spTgt spid="133"/>
                                        </p:tgtEl>
                                      </p:cBhvr>
                                    </p:animEffect>
                                    <p:set>
                                      <p:cBhvr>
                                        <p:cTn id="238" dur="1" fill="hold">
                                          <p:stCondLst>
                                            <p:cond delay="499"/>
                                          </p:stCondLst>
                                        </p:cTn>
                                        <p:tgtEl>
                                          <p:spTgt spid="133"/>
                                        </p:tgtEl>
                                        <p:attrNameLst>
                                          <p:attrName>style.visibility</p:attrName>
                                        </p:attrNameLst>
                                      </p:cBhvr>
                                      <p:to>
                                        <p:strVal val="hidden"/>
                                      </p:to>
                                    </p:set>
                                  </p:childTnLst>
                                </p:cTn>
                              </p:par>
                              <p:par>
                                <p:cTn id="239" presetID="10" presetClass="exit" presetSubtype="0" fill="hold" nodeType="withEffect">
                                  <p:stCondLst>
                                    <p:cond delay="0"/>
                                  </p:stCondLst>
                                  <p:childTnLst>
                                    <p:animEffect transition="out" filter="fade">
                                      <p:cBhvr>
                                        <p:cTn id="240" dur="500"/>
                                        <p:tgtEl>
                                          <p:spTgt spid="136"/>
                                        </p:tgtEl>
                                      </p:cBhvr>
                                    </p:animEffect>
                                    <p:set>
                                      <p:cBhvr>
                                        <p:cTn id="241" dur="1" fill="hold">
                                          <p:stCondLst>
                                            <p:cond delay="499"/>
                                          </p:stCondLst>
                                        </p:cTn>
                                        <p:tgtEl>
                                          <p:spTgt spid="136"/>
                                        </p:tgtEl>
                                        <p:attrNameLst>
                                          <p:attrName>style.visibility</p:attrName>
                                        </p:attrNameLst>
                                      </p:cBhvr>
                                      <p:to>
                                        <p:strVal val="hidden"/>
                                      </p:to>
                                    </p:set>
                                  </p:childTnLst>
                                </p:cTn>
                              </p:par>
                              <p:par>
                                <p:cTn id="242" presetID="10" presetClass="exit" presetSubtype="0" fill="hold" nodeType="withEffect">
                                  <p:stCondLst>
                                    <p:cond delay="0"/>
                                  </p:stCondLst>
                                  <p:childTnLst>
                                    <p:animEffect transition="out" filter="fade">
                                      <p:cBhvr>
                                        <p:cTn id="243" dur="500"/>
                                        <p:tgtEl>
                                          <p:spTgt spid="139"/>
                                        </p:tgtEl>
                                      </p:cBhvr>
                                    </p:animEffect>
                                    <p:set>
                                      <p:cBhvr>
                                        <p:cTn id="244" dur="1" fill="hold">
                                          <p:stCondLst>
                                            <p:cond delay="499"/>
                                          </p:stCondLst>
                                        </p:cTn>
                                        <p:tgtEl>
                                          <p:spTgt spid="139"/>
                                        </p:tgtEl>
                                        <p:attrNameLst>
                                          <p:attrName>style.visibility</p:attrName>
                                        </p:attrNameLst>
                                      </p:cBhvr>
                                      <p:to>
                                        <p:strVal val="hidden"/>
                                      </p:to>
                                    </p:set>
                                  </p:childTnLst>
                                </p:cTn>
                              </p:par>
                              <p:par>
                                <p:cTn id="245" presetID="10" presetClass="exit" presetSubtype="0" fill="hold" nodeType="withEffect">
                                  <p:stCondLst>
                                    <p:cond delay="0"/>
                                  </p:stCondLst>
                                  <p:childTnLst>
                                    <p:animEffect transition="out" filter="fade">
                                      <p:cBhvr>
                                        <p:cTn id="246" dur="500"/>
                                        <p:tgtEl>
                                          <p:spTgt spid="142"/>
                                        </p:tgtEl>
                                      </p:cBhvr>
                                    </p:animEffect>
                                    <p:set>
                                      <p:cBhvr>
                                        <p:cTn id="247" dur="1" fill="hold">
                                          <p:stCondLst>
                                            <p:cond delay="499"/>
                                          </p:stCondLst>
                                        </p:cTn>
                                        <p:tgtEl>
                                          <p:spTgt spid="142"/>
                                        </p:tgtEl>
                                        <p:attrNameLst>
                                          <p:attrName>style.visibility</p:attrName>
                                        </p:attrNameLst>
                                      </p:cBhvr>
                                      <p:to>
                                        <p:strVal val="hidden"/>
                                      </p:to>
                                    </p:set>
                                  </p:childTnLst>
                                </p:cTn>
                              </p:par>
                              <p:par>
                                <p:cTn id="248" presetID="10" presetClass="exit" presetSubtype="0" fill="hold" nodeType="withEffect">
                                  <p:stCondLst>
                                    <p:cond delay="0"/>
                                  </p:stCondLst>
                                  <p:childTnLst>
                                    <p:animEffect transition="out" filter="fade">
                                      <p:cBhvr>
                                        <p:cTn id="249" dur="500"/>
                                        <p:tgtEl>
                                          <p:spTgt spid="145"/>
                                        </p:tgtEl>
                                      </p:cBhvr>
                                    </p:animEffect>
                                    <p:set>
                                      <p:cBhvr>
                                        <p:cTn id="250" dur="1" fill="hold">
                                          <p:stCondLst>
                                            <p:cond delay="499"/>
                                          </p:stCondLst>
                                        </p:cTn>
                                        <p:tgtEl>
                                          <p:spTgt spid="145"/>
                                        </p:tgtEl>
                                        <p:attrNameLst>
                                          <p:attrName>style.visibility</p:attrName>
                                        </p:attrNameLst>
                                      </p:cBhvr>
                                      <p:to>
                                        <p:strVal val="hidden"/>
                                      </p:to>
                                    </p:set>
                                  </p:childTnLst>
                                </p:cTn>
                              </p:par>
                              <p:par>
                                <p:cTn id="251" presetID="10" presetClass="exit" presetSubtype="0" fill="hold" nodeType="withEffect">
                                  <p:stCondLst>
                                    <p:cond delay="0"/>
                                  </p:stCondLst>
                                  <p:childTnLst>
                                    <p:animEffect transition="out" filter="fade">
                                      <p:cBhvr>
                                        <p:cTn id="252" dur="500"/>
                                        <p:tgtEl>
                                          <p:spTgt spid="148"/>
                                        </p:tgtEl>
                                      </p:cBhvr>
                                    </p:animEffect>
                                    <p:set>
                                      <p:cBhvr>
                                        <p:cTn id="253" dur="1" fill="hold">
                                          <p:stCondLst>
                                            <p:cond delay="499"/>
                                          </p:stCondLst>
                                        </p:cTn>
                                        <p:tgtEl>
                                          <p:spTgt spid="148"/>
                                        </p:tgtEl>
                                        <p:attrNameLst>
                                          <p:attrName>style.visibility</p:attrName>
                                        </p:attrNameLst>
                                      </p:cBhvr>
                                      <p:to>
                                        <p:strVal val="hidden"/>
                                      </p:to>
                                    </p:set>
                                  </p:childTnLst>
                                </p:cTn>
                              </p:par>
                              <p:par>
                                <p:cTn id="254" presetID="10" presetClass="exit" presetSubtype="0" fill="hold" nodeType="withEffect">
                                  <p:stCondLst>
                                    <p:cond delay="0"/>
                                  </p:stCondLst>
                                  <p:childTnLst>
                                    <p:animEffect transition="out" filter="fade">
                                      <p:cBhvr>
                                        <p:cTn id="255" dur="500"/>
                                        <p:tgtEl>
                                          <p:spTgt spid="151"/>
                                        </p:tgtEl>
                                      </p:cBhvr>
                                    </p:animEffect>
                                    <p:set>
                                      <p:cBhvr>
                                        <p:cTn id="256" dur="1" fill="hold">
                                          <p:stCondLst>
                                            <p:cond delay="499"/>
                                          </p:stCondLst>
                                        </p:cTn>
                                        <p:tgtEl>
                                          <p:spTgt spid="151"/>
                                        </p:tgtEl>
                                        <p:attrNameLst>
                                          <p:attrName>style.visibility</p:attrName>
                                        </p:attrNameLst>
                                      </p:cBhvr>
                                      <p:to>
                                        <p:strVal val="hidden"/>
                                      </p:to>
                                    </p:set>
                                  </p:childTnLst>
                                </p:cTn>
                              </p:par>
                              <p:par>
                                <p:cTn id="257" presetID="10" presetClass="exit" presetSubtype="0" fill="hold" nodeType="withEffect">
                                  <p:stCondLst>
                                    <p:cond delay="0"/>
                                  </p:stCondLst>
                                  <p:childTnLst>
                                    <p:animEffect transition="out" filter="fade">
                                      <p:cBhvr>
                                        <p:cTn id="258" dur="500"/>
                                        <p:tgtEl>
                                          <p:spTgt spid="154"/>
                                        </p:tgtEl>
                                      </p:cBhvr>
                                    </p:animEffect>
                                    <p:set>
                                      <p:cBhvr>
                                        <p:cTn id="259" dur="1" fill="hold">
                                          <p:stCondLst>
                                            <p:cond delay="499"/>
                                          </p:stCondLst>
                                        </p:cTn>
                                        <p:tgtEl>
                                          <p:spTgt spid="154"/>
                                        </p:tgtEl>
                                        <p:attrNameLst>
                                          <p:attrName>style.visibility</p:attrName>
                                        </p:attrNameLst>
                                      </p:cBhvr>
                                      <p:to>
                                        <p:strVal val="hidden"/>
                                      </p:to>
                                    </p:set>
                                  </p:childTnLst>
                                </p:cTn>
                              </p:par>
                              <p:par>
                                <p:cTn id="260" presetID="10" presetClass="exit" presetSubtype="0" fill="hold" nodeType="withEffect">
                                  <p:stCondLst>
                                    <p:cond delay="0"/>
                                  </p:stCondLst>
                                  <p:childTnLst>
                                    <p:animEffect transition="out" filter="fade">
                                      <p:cBhvr>
                                        <p:cTn id="261" dur="500"/>
                                        <p:tgtEl>
                                          <p:spTgt spid="157"/>
                                        </p:tgtEl>
                                      </p:cBhvr>
                                    </p:animEffect>
                                    <p:set>
                                      <p:cBhvr>
                                        <p:cTn id="262" dur="1" fill="hold">
                                          <p:stCondLst>
                                            <p:cond delay="499"/>
                                          </p:stCondLst>
                                        </p:cTn>
                                        <p:tgtEl>
                                          <p:spTgt spid="157"/>
                                        </p:tgtEl>
                                        <p:attrNameLst>
                                          <p:attrName>style.visibility</p:attrName>
                                        </p:attrNameLst>
                                      </p:cBhvr>
                                      <p:to>
                                        <p:strVal val="hidden"/>
                                      </p:to>
                                    </p:set>
                                  </p:childTnLst>
                                </p:cTn>
                              </p:par>
                              <p:par>
                                <p:cTn id="263" presetID="10" presetClass="exit" presetSubtype="0" fill="hold" nodeType="withEffect">
                                  <p:stCondLst>
                                    <p:cond delay="0"/>
                                  </p:stCondLst>
                                  <p:childTnLst>
                                    <p:animEffect transition="out" filter="fade">
                                      <p:cBhvr>
                                        <p:cTn id="264" dur="500"/>
                                        <p:tgtEl>
                                          <p:spTgt spid="160"/>
                                        </p:tgtEl>
                                      </p:cBhvr>
                                    </p:animEffect>
                                    <p:set>
                                      <p:cBhvr>
                                        <p:cTn id="265" dur="1" fill="hold">
                                          <p:stCondLst>
                                            <p:cond delay="499"/>
                                          </p:stCondLst>
                                        </p:cTn>
                                        <p:tgtEl>
                                          <p:spTgt spid="160"/>
                                        </p:tgtEl>
                                        <p:attrNameLst>
                                          <p:attrName>style.visibility</p:attrName>
                                        </p:attrNameLst>
                                      </p:cBhvr>
                                      <p:to>
                                        <p:strVal val="hidden"/>
                                      </p:to>
                                    </p:set>
                                  </p:childTnLst>
                                </p:cTn>
                              </p:par>
                              <p:par>
                                <p:cTn id="266" presetID="10" presetClass="exit" presetSubtype="0" fill="hold" nodeType="withEffect">
                                  <p:stCondLst>
                                    <p:cond delay="0"/>
                                  </p:stCondLst>
                                  <p:childTnLst>
                                    <p:animEffect transition="out" filter="fade">
                                      <p:cBhvr>
                                        <p:cTn id="267" dur="500"/>
                                        <p:tgtEl>
                                          <p:spTgt spid="163"/>
                                        </p:tgtEl>
                                      </p:cBhvr>
                                    </p:animEffect>
                                    <p:set>
                                      <p:cBhvr>
                                        <p:cTn id="268" dur="1" fill="hold">
                                          <p:stCondLst>
                                            <p:cond delay="499"/>
                                          </p:stCondLst>
                                        </p:cTn>
                                        <p:tgtEl>
                                          <p:spTgt spid="163"/>
                                        </p:tgtEl>
                                        <p:attrNameLst>
                                          <p:attrName>style.visibility</p:attrName>
                                        </p:attrNameLst>
                                      </p:cBhvr>
                                      <p:to>
                                        <p:strVal val="hidden"/>
                                      </p:to>
                                    </p:set>
                                  </p:childTnLst>
                                </p:cTn>
                              </p:par>
                              <p:par>
                                <p:cTn id="269" presetID="10" presetClass="exit" presetSubtype="0" fill="hold" nodeType="withEffect">
                                  <p:stCondLst>
                                    <p:cond delay="0"/>
                                  </p:stCondLst>
                                  <p:childTnLst>
                                    <p:animEffect transition="out" filter="fade">
                                      <p:cBhvr>
                                        <p:cTn id="270" dur="500"/>
                                        <p:tgtEl>
                                          <p:spTgt spid="166"/>
                                        </p:tgtEl>
                                      </p:cBhvr>
                                    </p:animEffect>
                                    <p:set>
                                      <p:cBhvr>
                                        <p:cTn id="271" dur="1" fill="hold">
                                          <p:stCondLst>
                                            <p:cond delay="499"/>
                                          </p:stCondLst>
                                        </p:cTn>
                                        <p:tgtEl>
                                          <p:spTgt spid="166"/>
                                        </p:tgtEl>
                                        <p:attrNameLst>
                                          <p:attrName>style.visibility</p:attrName>
                                        </p:attrNameLst>
                                      </p:cBhvr>
                                      <p:to>
                                        <p:strVal val="hidden"/>
                                      </p:to>
                                    </p:set>
                                  </p:childTnLst>
                                </p:cTn>
                              </p:par>
                              <p:par>
                                <p:cTn id="272" presetID="10" presetClass="exit" presetSubtype="0" fill="hold" nodeType="withEffect">
                                  <p:stCondLst>
                                    <p:cond delay="0"/>
                                  </p:stCondLst>
                                  <p:childTnLst>
                                    <p:animEffect transition="out" filter="fade">
                                      <p:cBhvr>
                                        <p:cTn id="273" dur="500"/>
                                        <p:tgtEl>
                                          <p:spTgt spid="169"/>
                                        </p:tgtEl>
                                      </p:cBhvr>
                                    </p:animEffect>
                                    <p:set>
                                      <p:cBhvr>
                                        <p:cTn id="274" dur="1" fill="hold">
                                          <p:stCondLst>
                                            <p:cond delay="499"/>
                                          </p:stCondLst>
                                        </p:cTn>
                                        <p:tgtEl>
                                          <p:spTgt spid="169"/>
                                        </p:tgtEl>
                                        <p:attrNameLst>
                                          <p:attrName>style.visibility</p:attrName>
                                        </p:attrNameLst>
                                      </p:cBhvr>
                                      <p:to>
                                        <p:strVal val="hidden"/>
                                      </p:to>
                                    </p:set>
                                  </p:childTnLst>
                                </p:cTn>
                              </p:par>
                              <p:par>
                                <p:cTn id="275" presetID="10" presetClass="exit" presetSubtype="0" fill="hold" nodeType="withEffect">
                                  <p:stCondLst>
                                    <p:cond delay="0"/>
                                  </p:stCondLst>
                                  <p:childTnLst>
                                    <p:animEffect transition="out" filter="fade">
                                      <p:cBhvr>
                                        <p:cTn id="276" dur="500"/>
                                        <p:tgtEl>
                                          <p:spTgt spid="172"/>
                                        </p:tgtEl>
                                      </p:cBhvr>
                                    </p:animEffect>
                                    <p:set>
                                      <p:cBhvr>
                                        <p:cTn id="277" dur="1" fill="hold">
                                          <p:stCondLst>
                                            <p:cond delay="499"/>
                                          </p:stCondLst>
                                        </p:cTn>
                                        <p:tgtEl>
                                          <p:spTgt spid="172"/>
                                        </p:tgtEl>
                                        <p:attrNameLst>
                                          <p:attrName>style.visibility</p:attrName>
                                        </p:attrNameLst>
                                      </p:cBhvr>
                                      <p:to>
                                        <p:strVal val="hidden"/>
                                      </p:to>
                                    </p:set>
                                  </p:childTnLst>
                                </p:cTn>
                              </p:par>
                              <p:par>
                                <p:cTn id="278" presetID="10" presetClass="exit" presetSubtype="0" fill="hold" nodeType="withEffect">
                                  <p:stCondLst>
                                    <p:cond delay="0"/>
                                  </p:stCondLst>
                                  <p:childTnLst>
                                    <p:animEffect transition="out" filter="fade">
                                      <p:cBhvr>
                                        <p:cTn id="279" dur="500"/>
                                        <p:tgtEl>
                                          <p:spTgt spid="175"/>
                                        </p:tgtEl>
                                      </p:cBhvr>
                                    </p:animEffect>
                                    <p:set>
                                      <p:cBhvr>
                                        <p:cTn id="280" dur="1" fill="hold">
                                          <p:stCondLst>
                                            <p:cond delay="499"/>
                                          </p:stCondLst>
                                        </p:cTn>
                                        <p:tgtEl>
                                          <p:spTgt spid="175"/>
                                        </p:tgtEl>
                                        <p:attrNameLst>
                                          <p:attrName>style.visibility</p:attrName>
                                        </p:attrNameLst>
                                      </p:cBhvr>
                                      <p:to>
                                        <p:strVal val="hidden"/>
                                      </p:to>
                                    </p:set>
                                  </p:childTnLst>
                                </p:cTn>
                              </p:par>
                              <p:par>
                                <p:cTn id="281" presetID="10" presetClass="exit" presetSubtype="0" fill="hold" nodeType="withEffect">
                                  <p:stCondLst>
                                    <p:cond delay="0"/>
                                  </p:stCondLst>
                                  <p:childTnLst>
                                    <p:animEffect transition="out" filter="fade">
                                      <p:cBhvr>
                                        <p:cTn id="282" dur="500"/>
                                        <p:tgtEl>
                                          <p:spTgt spid="178"/>
                                        </p:tgtEl>
                                      </p:cBhvr>
                                    </p:animEffect>
                                    <p:set>
                                      <p:cBhvr>
                                        <p:cTn id="283" dur="1" fill="hold">
                                          <p:stCondLst>
                                            <p:cond delay="499"/>
                                          </p:stCondLst>
                                        </p:cTn>
                                        <p:tgtEl>
                                          <p:spTgt spid="178"/>
                                        </p:tgtEl>
                                        <p:attrNameLst>
                                          <p:attrName>style.visibility</p:attrName>
                                        </p:attrNameLst>
                                      </p:cBhvr>
                                      <p:to>
                                        <p:strVal val="hidden"/>
                                      </p:to>
                                    </p:set>
                                  </p:childTnLst>
                                </p:cTn>
                              </p:par>
                              <p:par>
                                <p:cTn id="284" presetID="10" presetClass="exit" presetSubtype="0" fill="hold" nodeType="withEffect">
                                  <p:stCondLst>
                                    <p:cond delay="0"/>
                                  </p:stCondLst>
                                  <p:childTnLst>
                                    <p:animEffect transition="out" filter="fade">
                                      <p:cBhvr>
                                        <p:cTn id="285" dur="500"/>
                                        <p:tgtEl>
                                          <p:spTgt spid="181"/>
                                        </p:tgtEl>
                                      </p:cBhvr>
                                    </p:animEffect>
                                    <p:set>
                                      <p:cBhvr>
                                        <p:cTn id="286" dur="1" fill="hold">
                                          <p:stCondLst>
                                            <p:cond delay="499"/>
                                          </p:stCondLst>
                                        </p:cTn>
                                        <p:tgtEl>
                                          <p:spTgt spid="181"/>
                                        </p:tgtEl>
                                        <p:attrNameLst>
                                          <p:attrName>style.visibility</p:attrName>
                                        </p:attrNameLst>
                                      </p:cBhvr>
                                      <p:to>
                                        <p:strVal val="hidden"/>
                                      </p:to>
                                    </p:set>
                                  </p:childTnLst>
                                </p:cTn>
                              </p:par>
                              <p:par>
                                <p:cTn id="287" presetID="10" presetClass="exit" presetSubtype="0" fill="hold" nodeType="withEffect">
                                  <p:stCondLst>
                                    <p:cond delay="0"/>
                                  </p:stCondLst>
                                  <p:childTnLst>
                                    <p:animEffect transition="out" filter="fade">
                                      <p:cBhvr>
                                        <p:cTn id="288" dur="500"/>
                                        <p:tgtEl>
                                          <p:spTgt spid="184"/>
                                        </p:tgtEl>
                                      </p:cBhvr>
                                    </p:animEffect>
                                    <p:set>
                                      <p:cBhvr>
                                        <p:cTn id="289" dur="1" fill="hold">
                                          <p:stCondLst>
                                            <p:cond delay="499"/>
                                          </p:stCondLst>
                                        </p:cTn>
                                        <p:tgtEl>
                                          <p:spTgt spid="184"/>
                                        </p:tgtEl>
                                        <p:attrNameLst>
                                          <p:attrName>style.visibility</p:attrName>
                                        </p:attrNameLst>
                                      </p:cBhvr>
                                      <p:to>
                                        <p:strVal val="hidden"/>
                                      </p:to>
                                    </p:set>
                                  </p:childTnLst>
                                </p:cTn>
                              </p:par>
                              <p:par>
                                <p:cTn id="290" presetID="10" presetClass="exit" presetSubtype="0" fill="hold" nodeType="withEffect">
                                  <p:stCondLst>
                                    <p:cond delay="0"/>
                                  </p:stCondLst>
                                  <p:childTnLst>
                                    <p:animEffect transition="out" filter="fade">
                                      <p:cBhvr>
                                        <p:cTn id="291" dur="500"/>
                                        <p:tgtEl>
                                          <p:spTgt spid="187"/>
                                        </p:tgtEl>
                                      </p:cBhvr>
                                    </p:animEffect>
                                    <p:set>
                                      <p:cBhvr>
                                        <p:cTn id="292" dur="1" fill="hold">
                                          <p:stCondLst>
                                            <p:cond delay="499"/>
                                          </p:stCondLst>
                                        </p:cTn>
                                        <p:tgtEl>
                                          <p:spTgt spid="187"/>
                                        </p:tgtEl>
                                        <p:attrNameLst>
                                          <p:attrName>style.visibility</p:attrName>
                                        </p:attrNameLst>
                                      </p:cBhvr>
                                      <p:to>
                                        <p:strVal val="hidden"/>
                                      </p:to>
                                    </p:set>
                                  </p:childTnLst>
                                </p:cTn>
                              </p:par>
                              <p:par>
                                <p:cTn id="293" presetID="10" presetClass="exit" presetSubtype="0" fill="hold" nodeType="withEffect">
                                  <p:stCondLst>
                                    <p:cond delay="0"/>
                                  </p:stCondLst>
                                  <p:childTnLst>
                                    <p:animEffect transition="out" filter="fade">
                                      <p:cBhvr>
                                        <p:cTn id="294" dur="500"/>
                                        <p:tgtEl>
                                          <p:spTgt spid="190"/>
                                        </p:tgtEl>
                                      </p:cBhvr>
                                    </p:animEffect>
                                    <p:set>
                                      <p:cBhvr>
                                        <p:cTn id="295" dur="1" fill="hold">
                                          <p:stCondLst>
                                            <p:cond delay="499"/>
                                          </p:stCondLst>
                                        </p:cTn>
                                        <p:tgtEl>
                                          <p:spTgt spid="190"/>
                                        </p:tgtEl>
                                        <p:attrNameLst>
                                          <p:attrName>style.visibility</p:attrName>
                                        </p:attrNameLst>
                                      </p:cBhvr>
                                      <p:to>
                                        <p:strVal val="hidden"/>
                                      </p:to>
                                    </p:set>
                                  </p:childTnLst>
                                </p:cTn>
                              </p:par>
                              <p:par>
                                <p:cTn id="296" presetID="10" presetClass="exit" presetSubtype="0" fill="hold" nodeType="withEffect">
                                  <p:stCondLst>
                                    <p:cond delay="0"/>
                                  </p:stCondLst>
                                  <p:childTnLst>
                                    <p:animEffect transition="out" filter="fade">
                                      <p:cBhvr>
                                        <p:cTn id="297" dur="500"/>
                                        <p:tgtEl>
                                          <p:spTgt spid="193"/>
                                        </p:tgtEl>
                                      </p:cBhvr>
                                    </p:animEffect>
                                    <p:set>
                                      <p:cBhvr>
                                        <p:cTn id="298" dur="1" fill="hold">
                                          <p:stCondLst>
                                            <p:cond delay="499"/>
                                          </p:stCondLst>
                                        </p:cTn>
                                        <p:tgtEl>
                                          <p:spTgt spid="193"/>
                                        </p:tgtEl>
                                        <p:attrNameLst>
                                          <p:attrName>style.visibility</p:attrName>
                                        </p:attrNameLst>
                                      </p:cBhvr>
                                      <p:to>
                                        <p:strVal val="hidden"/>
                                      </p:to>
                                    </p:set>
                                  </p:childTnLst>
                                </p:cTn>
                              </p:par>
                              <p:par>
                                <p:cTn id="299" presetID="10" presetClass="exit" presetSubtype="0" fill="hold" nodeType="withEffect">
                                  <p:stCondLst>
                                    <p:cond delay="0"/>
                                  </p:stCondLst>
                                  <p:childTnLst>
                                    <p:animEffect transition="out" filter="fade">
                                      <p:cBhvr>
                                        <p:cTn id="300" dur="500"/>
                                        <p:tgtEl>
                                          <p:spTgt spid="196"/>
                                        </p:tgtEl>
                                      </p:cBhvr>
                                    </p:animEffect>
                                    <p:set>
                                      <p:cBhvr>
                                        <p:cTn id="301" dur="1" fill="hold">
                                          <p:stCondLst>
                                            <p:cond delay="499"/>
                                          </p:stCondLst>
                                        </p:cTn>
                                        <p:tgtEl>
                                          <p:spTgt spid="196"/>
                                        </p:tgtEl>
                                        <p:attrNameLst>
                                          <p:attrName>style.visibility</p:attrName>
                                        </p:attrNameLst>
                                      </p:cBhvr>
                                      <p:to>
                                        <p:strVal val="hidden"/>
                                      </p:to>
                                    </p:set>
                                  </p:childTnLst>
                                </p:cTn>
                              </p:par>
                              <p:par>
                                <p:cTn id="302" presetID="10" presetClass="exit" presetSubtype="0" fill="hold" nodeType="withEffect">
                                  <p:stCondLst>
                                    <p:cond delay="0"/>
                                  </p:stCondLst>
                                  <p:childTnLst>
                                    <p:animEffect transition="out" filter="fade">
                                      <p:cBhvr>
                                        <p:cTn id="303" dur="500"/>
                                        <p:tgtEl>
                                          <p:spTgt spid="204"/>
                                        </p:tgtEl>
                                      </p:cBhvr>
                                    </p:animEffect>
                                    <p:set>
                                      <p:cBhvr>
                                        <p:cTn id="304" dur="1" fill="hold">
                                          <p:stCondLst>
                                            <p:cond delay="499"/>
                                          </p:stCondLst>
                                        </p:cTn>
                                        <p:tgtEl>
                                          <p:spTgt spid="204"/>
                                        </p:tgtEl>
                                        <p:attrNameLst>
                                          <p:attrName>style.visibility</p:attrName>
                                        </p:attrNameLst>
                                      </p:cBhvr>
                                      <p:to>
                                        <p:strVal val="hidden"/>
                                      </p:to>
                                    </p:set>
                                  </p:childTnLst>
                                </p:cTn>
                              </p:par>
                              <p:par>
                                <p:cTn id="305" presetID="10" presetClass="exit" presetSubtype="0" fill="hold" nodeType="withEffect">
                                  <p:stCondLst>
                                    <p:cond delay="0"/>
                                  </p:stCondLst>
                                  <p:childTnLst>
                                    <p:animEffect transition="out" filter="fade">
                                      <p:cBhvr>
                                        <p:cTn id="306" dur="500"/>
                                        <p:tgtEl>
                                          <p:spTgt spid="207"/>
                                        </p:tgtEl>
                                      </p:cBhvr>
                                    </p:animEffect>
                                    <p:set>
                                      <p:cBhvr>
                                        <p:cTn id="307" dur="1" fill="hold">
                                          <p:stCondLst>
                                            <p:cond delay="499"/>
                                          </p:stCondLst>
                                        </p:cTn>
                                        <p:tgtEl>
                                          <p:spTgt spid="207"/>
                                        </p:tgtEl>
                                        <p:attrNameLst>
                                          <p:attrName>style.visibility</p:attrName>
                                        </p:attrNameLst>
                                      </p:cBhvr>
                                      <p:to>
                                        <p:strVal val="hidden"/>
                                      </p:to>
                                    </p:set>
                                  </p:childTnLst>
                                </p:cTn>
                              </p:par>
                              <p:par>
                                <p:cTn id="308" presetID="10" presetClass="exit" presetSubtype="0" fill="hold" nodeType="withEffect">
                                  <p:stCondLst>
                                    <p:cond delay="0"/>
                                  </p:stCondLst>
                                  <p:childTnLst>
                                    <p:animEffect transition="out" filter="fade">
                                      <p:cBhvr>
                                        <p:cTn id="309" dur="500"/>
                                        <p:tgtEl>
                                          <p:spTgt spid="94"/>
                                        </p:tgtEl>
                                      </p:cBhvr>
                                    </p:animEffect>
                                    <p:set>
                                      <p:cBhvr>
                                        <p:cTn id="310" dur="1" fill="hold">
                                          <p:stCondLst>
                                            <p:cond delay="499"/>
                                          </p:stCondLst>
                                        </p:cTn>
                                        <p:tgtEl>
                                          <p:spTgt spid="94"/>
                                        </p:tgtEl>
                                        <p:attrNameLst>
                                          <p:attrName>style.visibility</p:attrName>
                                        </p:attrNameLst>
                                      </p:cBhvr>
                                      <p:to>
                                        <p:strVal val="hidden"/>
                                      </p:to>
                                    </p:set>
                                  </p:childTnLst>
                                </p:cTn>
                              </p:par>
                              <p:par>
                                <p:cTn id="311" presetID="10" presetClass="exit" presetSubtype="0" fill="hold" nodeType="withEffect">
                                  <p:stCondLst>
                                    <p:cond delay="0"/>
                                  </p:stCondLst>
                                  <p:childTnLst>
                                    <p:animEffect transition="out" filter="fade">
                                      <p:cBhvr>
                                        <p:cTn id="312" dur="500"/>
                                        <p:tgtEl>
                                          <p:spTgt spid="199"/>
                                        </p:tgtEl>
                                      </p:cBhvr>
                                    </p:animEffect>
                                    <p:set>
                                      <p:cBhvr>
                                        <p:cTn id="313" dur="1" fill="hold">
                                          <p:stCondLst>
                                            <p:cond delay="499"/>
                                          </p:stCondLst>
                                        </p:cTn>
                                        <p:tgtEl>
                                          <p:spTgt spid="199"/>
                                        </p:tgtEl>
                                        <p:attrNameLst>
                                          <p:attrName>style.visibility</p:attrName>
                                        </p:attrNameLst>
                                      </p:cBhvr>
                                      <p:to>
                                        <p:strVal val="hidden"/>
                                      </p:to>
                                    </p:set>
                                  </p:childTnLst>
                                </p:cTn>
                              </p:par>
                              <p:par>
                                <p:cTn id="314" presetID="10" presetClass="exit" presetSubtype="0" fill="hold" grpId="3" nodeType="withEffect">
                                  <p:stCondLst>
                                    <p:cond delay="0"/>
                                  </p:stCondLst>
                                  <p:childTnLst>
                                    <p:animEffect transition="out" filter="fade">
                                      <p:cBhvr>
                                        <p:cTn id="315" dur="500"/>
                                        <p:tgtEl>
                                          <p:spTgt spid="61"/>
                                        </p:tgtEl>
                                      </p:cBhvr>
                                    </p:animEffect>
                                    <p:set>
                                      <p:cBhvr>
                                        <p:cTn id="316" dur="1" fill="hold">
                                          <p:stCondLst>
                                            <p:cond delay="499"/>
                                          </p:stCondLst>
                                        </p:cTn>
                                        <p:tgtEl>
                                          <p:spTgt spid="61"/>
                                        </p:tgtEl>
                                        <p:attrNameLst>
                                          <p:attrName>style.visibility</p:attrName>
                                        </p:attrNameLst>
                                      </p:cBhvr>
                                      <p:to>
                                        <p:strVal val="hidden"/>
                                      </p:to>
                                    </p:set>
                                  </p:childTnLst>
                                </p:cTn>
                              </p:par>
                              <p:par>
                                <p:cTn id="317" presetID="10" presetClass="exit" presetSubtype="0" fill="hold" nodeType="withEffect">
                                  <p:stCondLst>
                                    <p:cond delay="0"/>
                                  </p:stCondLst>
                                  <p:childTnLst>
                                    <p:animEffect transition="out" filter="fade">
                                      <p:cBhvr>
                                        <p:cTn id="318" dur="500"/>
                                        <p:tgtEl>
                                          <p:spTgt spid="99"/>
                                        </p:tgtEl>
                                      </p:cBhvr>
                                    </p:animEffect>
                                    <p:set>
                                      <p:cBhvr>
                                        <p:cTn id="319" dur="1" fill="hold">
                                          <p:stCondLst>
                                            <p:cond delay="499"/>
                                          </p:stCondLst>
                                        </p:cTn>
                                        <p:tgtEl>
                                          <p:spTgt spid="99"/>
                                        </p:tgtEl>
                                        <p:attrNameLst>
                                          <p:attrName>style.visibility</p:attrName>
                                        </p:attrNameLst>
                                      </p:cBhvr>
                                      <p:to>
                                        <p:strVal val="hidden"/>
                                      </p:to>
                                    </p:set>
                                  </p:childTnLst>
                                </p:cTn>
                              </p:par>
                              <p:par>
                                <p:cTn id="320" presetID="10" presetClass="exit" presetSubtype="0" fill="hold" nodeType="withEffect">
                                  <p:stCondLst>
                                    <p:cond delay="0"/>
                                  </p:stCondLst>
                                  <p:childTnLst>
                                    <p:animEffect transition="out" filter="fade">
                                      <p:cBhvr>
                                        <p:cTn id="321" dur="500"/>
                                        <p:tgtEl>
                                          <p:spTgt spid="102"/>
                                        </p:tgtEl>
                                      </p:cBhvr>
                                    </p:animEffect>
                                    <p:set>
                                      <p:cBhvr>
                                        <p:cTn id="322" dur="1" fill="hold">
                                          <p:stCondLst>
                                            <p:cond delay="499"/>
                                          </p:stCondLst>
                                        </p:cTn>
                                        <p:tgtEl>
                                          <p:spTgt spid="102"/>
                                        </p:tgtEl>
                                        <p:attrNameLst>
                                          <p:attrName>style.visibility</p:attrName>
                                        </p:attrNameLst>
                                      </p:cBhvr>
                                      <p:to>
                                        <p:strVal val="hidden"/>
                                      </p:to>
                                    </p:set>
                                  </p:childTnLst>
                                </p:cTn>
                              </p:par>
                              <p:par>
                                <p:cTn id="323" presetID="10" presetClass="exit" presetSubtype="0" fill="hold" nodeType="withEffect">
                                  <p:stCondLst>
                                    <p:cond delay="0"/>
                                  </p:stCondLst>
                                  <p:childTnLst>
                                    <p:animEffect transition="out" filter="fade">
                                      <p:cBhvr>
                                        <p:cTn id="324" dur="500"/>
                                        <p:tgtEl>
                                          <p:spTgt spid="105"/>
                                        </p:tgtEl>
                                      </p:cBhvr>
                                    </p:animEffect>
                                    <p:set>
                                      <p:cBhvr>
                                        <p:cTn id="325" dur="1" fill="hold">
                                          <p:stCondLst>
                                            <p:cond delay="499"/>
                                          </p:stCondLst>
                                        </p:cTn>
                                        <p:tgtEl>
                                          <p:spTgt spid="105"/>
                                        </p:tgtEl>
                                        <p:attrNameLst>
                                          <p:attrName>style.visibility</p:attrName>
                                        </p:attrNameLst>
                                      </p:cBhvr>
                                      <p:to>
                                        <p:strVal val="hidden"/>
                                      </p:to>
                                    </p:set>
                                  </p:childTnLst>
                                </p:cTn>
                              </p:par>
                              <p:par>
                                <p:cTn id="326" presetID="10" presetClass="exit" presetSubtype="0" fill="hold" grpId="0" nodeType="withEffect">
                                  <p:stCondLst>
                                    <p:cond delay="0"/>
                                  </p:stCondLst>
                                  <p:childTnLst>
                                    <p:animEffect transition="out" filter="fade">
                                      <p:cBhvr>
                                        <p:cTn id="327" dur="500"/>
                                        <p:tgtEl>
                                          <p:spTgt spid="108"/>
                                        </p:tgtEl>
                                      </p:cBhvr>
                                    </p:animEffect>
                                    <p:set>
                                      <p:cBhvr>
                                        <p:cTn id="328" dur="1" fill="hold">
                                          <p:stCondLst>
                                            <p:cond delay="499"/>
                                          </p:stCondLst>
                                        </p:cTn>
                                        <p:tgtEl>
                                          <p:spTgt spid="108"/>
                                        </p:tgtEl>
                                        <p:attrNameLst>
                                          <p:attrName>style.visibility</p:attrName>
                                        </p:attrNameLst>
                                      </p:cBhvr>
                                      <p:to>
                                        <p:strVal val="hidden"/>
                                      </p:to>
                                    </p:set>
                                  </p:childTnLst>
                                </p:cTn>
                              </p:par>
                              <p:par>
                                <p:cTn id="329" presetID="10" presetClass="exit" presetSubtype="0" fill="hold" nodeType="withEffect">
                                  <p:stCondLst>
                                    <p:cond delay="0"/>
                                  </p:stCondLst>
                                  <p:childTnLst>
                                    <p:animEffect transition="out" filter="fade">
                                      <p:cBhvr>
                                        <p:cTn id="330" dur="500"/>
                                        <p:tgtEl>
                                          <p:spTgt spid="89"/>
                                        </p:tgtEl>
                                      </p:cBhvr>
                                    </p:animEffect>
                                    <p:set>
                                      <p:cBhvr>
                                        <p:cTn id="331" dur="1" fill="hold">
                                          <p:stCondLst>
                                            <p:cond delay="499"/>
                                          </p:stCondLst>
                                        </p:cTn>
                                        <p:tgtEl>
                                          <p:spTgt spid="8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P spid="61" grpId="1" animBg="1"/>
      <p:bldP spid="61" grpId="2" animBg="1"/>
      <p:bldP spid="61" grpId="3" animBg="1"/>
      <p:bldP spid="62" grpId="0" animBg="1"/>
      <p:bldP spid="10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ubtitle 18">
            <a:extLst>
              <a:ext uri="{FF2B5EF4-FFF2-40B4-BE49-F238E27FC236}">
                <a16:creationId xmlns:a16="http://schemas.microsoft.com/office/drawing/2014/main" id="{E57B4646-C1D1-CC4F-8DC7-794AEADB7F26}"/>
              </a:ext>
            </a:extLst>
          </p:cNvPr>
          <p:cNvSpPr>
            <a:spLocks noGrp="1"/>
          </p:cNvSpPr>
          <p:nvPr>
            <p:ph type="subTitle" idx="1"/>
          </p:nvPr>
        </p:nvSpPr>
        <p:spPr/>
        <p:txBody>
          <a:bodyPr/>
          <a:lstStyle/>
          <a:p>
            <a:endParaRPr lang="en-US"/>
          </a:p>
        </p:txBody>
      </p:sp>
      <p:sp>
        <p:nvSpPr>
          <p:cNvPr id="20" name="Text Placeholder 19">
            <a:extLst>
              <a:ext uri="{FF2B5EF4-FFF2-40B4-BE49-F238E27FC236}">
                <a16:creationId xmlns:a16="http://schemas.microsoft.com/office/drawing/2014/main" id="{E5ED0080-6ABD-1A45-83B8-A9F082CBDC44}"/>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06D2570F-11C3-F545-97A3-D056E4651B3F}"/>
              </a:ext>
            </a:extLst>
          </p:cNvPr>
          <p:cNvSpPr>
            <a:spLocks noGrp="1"/>
          </p:cNvSpPr>
          <p:nvPr>
            <p:ph type="body" sz="quarter" idx="12"/>
          </p:nvPr>
        </p:nvSpPr>
        <p:spPr/>
        <p:txBody>
          <a:bodyPr vert="horz" lIns="91420" tIns="45710" rIns="91420" bIns="45710" rtlCol="0" anchor="t">
            <a:noAutofit/>
          </a:bodyPr>
          <a:lstStyle/>
          <a:p>
            <a:r>
              <a:rPr lang="en-US"/>
              <a:t>2021</a:t>
            </a:r>
          </a:p>
        </p:txBody>
      </p:sp>
      <p:sp>
        <p:nvSpPr>
          <p:cNvPr id="10" name="Text Placeholder 9">
            <a:extLst>
              <a:ext uri="{FF2B5EF4-FFF2-40B4-BE49-F238E27FC236}">
                <a16:creationId xmlns:a16="http://schemas.microsoft.com/office/drawing/2014/main" id="{555FC83F-008A-3B4B-A082-4380F0226737}"/>
              </a:ext>
            </a:extLst>
          </p:cNvPr>
          <p:cNvSpPr>
            <a:spLocks noGrp="1"/>
          </p:cNvSpPr>
          <p:nvPr>
            <p:ph type="body" sz="quarter" idx="13"/>
          </p:nvPr>
        </p:nvSpPr>
        <p:spPr>
          <a:xfrm>
            <a:off x="425766" y="3116897"/>
            <a:ext cx="5486400" cy="299001"/>
          </a:xfrm>
        </p:spPr>
        <p:txBody>
          <a:bodyPr/>
          <a:lstStyle/>
          <a:p>
            <a:r>
              <a:rPr lang="en-US" dirty="0"/>
              <a:t>Accelerate Secure Cloud Adoption</a:t>
            </a:r>
          </a:p>
        </p:txBody>
      </p:sp>
      <p:sp>
        <p:nvSpPr>
          <p:cNvPr id="6" name="Title 5"/>
          <p:cNvSpPr>
            <a:spLocks noGrp="1"/>
          </p:cNvSpPr>
          <p:nvPr>
            <p:ph type="ctrTitle"/>
          </p:nvPr>
        </p:nvSpPr>
        <p:spPr/>
        <p:txBody>
          <a:bodyPr/>
          <a:lstStyle/>
          <a:p>
            <a:r>
              <a:rPr lang="en-US"/>
              <a:t>Cisco Umbrella </a:t>
            </a:r>
          </a:p>
        </p:txBody>
      </p:sp>
    </p:spTree>
    <p:extLst>
      <p:ext uri="{BB962C8B-B14F-4D97-AF65-F5344CB8AC3E}">
        <p14:creationId xmlns:p14="http://schemas.microsoft.com/office/powerpoint/2010/main" val="1107775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E79CC4-BA5D-8D44-BE1D-6C870B778654}"/>
              </a:ext>
            </a:extLst>
          </p:cNvPr>
          <p:cNvSpPr>
            <a:spLocks noGrp="1"/>
          </p:cNvSpPr>
          <p:nvPr>
            <p:ph type="title"/>
          </p:nvPr>
        </p:nvSpPr>
        <p:spPr/>
        <p:txBody>
          <a:bodyPr/>
          <a:lstStyle/>
          <a:p>
            <a:r>
              <a:rPr lang="en-US"/>
              <a:t>Networking and security teams struggle to…</a:t>
            </a:r>
          </a:p>
        </p:txBody>
      </p:sp>
      <p:sp>
        <p:nvSpPr>
          <p:cNvPr id="6" name="Rectangle 5">
            <a:extLst>
              <a:ext uri="{FF2B5EF4-FFF2-40B4-BE49-F238E27FC236}">
                <a16:creationId xmlns:a16="http://schemas.microsoft.com/office/drawing/2014/main" id="{AB7F8C27-2D4F-7947-B17B-7BE2447CFC5A}"/>
              </a:ext>
            </a:extLst>
          </p:cNvPr>
          <p:cNvSpPr/>
          <p:nvPr/>
        </p:nvSpPr>
        <p:spPr>
          <a:xfrm>
            <a:off x="327127" y="2336964"/>
            <a:ext cx="2971817" cy="1015663"/>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CiscoSansTT ExtraLight" panose="020B0303020201020303" pitchFamily="34" charset="0"/>
              </a:rPr>
              <a:t>…connect users anywhere to applications everywhere</a:t>
            </a:r>
          </a:p>
        </p:txBody>
      </p:sp>
      <p:sp>
        <p:nvSpPr>
          <p:cNvPr id="13" name="Rectangle 12">
            <a:extLst>
              <a:ext uri="{FF2B5EF4-FFF2-40B4-BE49-F238E27FC236}">
                <a16:creationId xmlns:a16="http://schemas.microsoft.com/office/drawing/2014/main" id="{C09991CA-E4AD-5343-83EA-D669CA315EC8}"/>
              </a:ext>
            </a:extLst>
          </p:cNvPr>
          <p:cNvSpPr/>
          <p:nvPr/>
        </p:nvSpPr>
        <p:spPr>
          <a:xfrm>
            <a:off x="3431464" y="2336966"/>
            <a:ext cx="2450839" cy="1015663"/>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CiscoSansTT ExtraLight" panose="020B0303020201020303" pitchFamily="34" charset="0"/>
              </a:rPr>
              <a:t>…protect against </a:t>
            </a:r>
            <a:br>
              <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CiscoSansTT ExtraLight" panose="020B0303020201020303" pitchFamily="34" charset="0"/>
              </a:rPr>
            </a:br>
            <a:r>
              <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CiscoSansTT ExtraLight" panose="020B0303020201020303" pitchFamily="34" charset="0"/>
              </a:rPr>
              <a:t>evolving threat vectors</a:t>
            </a:r>
          </a:p>
        </p:txBody>
      </p:sp>
      <p:grpSp>
        <p:nvGrpSpPr>
          <p:cNvPr id="49" name="Group 48">
            <a:extLst>
              <a:ext uri="{FF2B5EF4-FFF2-40B4-BE49-F238E27FC236}">
                <a16:creationId xmlns:a16="http://schemas.microsoft.com/office/drawing/2014/main" id="{73E5CC9E-6971-4144-8B61-21BB457DD2AF}"/>
              </a:ext>
            </a:extLst>
          </p:cNvPr>
          <p:cNvGrpSpPr/>
          <p:nvPr/>
        </p:nvGrpSpPr>
        <p:grpSpPr>
          <a:xfrm>
            <a:off x="7224376" y="3838268"/>
            <a:ext cx="265762" cy="265382"/>
            <a:chOff x="728184" y="4213842"/>
            <a:chExt cx="217668" cy="217356"/>
          </a:xfrm>
          <a:solidFill>
            <a:schemeClr val="tx2"/>
          </a:solidFill>
        </p:grpSpPr>
        <p:sp>
          <p:nvSpPr>
            <p:cNvPr id="50" name="Freeform 49">
              <a:extLst>
                <a:ext uri="{FF2B5EF4-FFF2-40B4-BE49-F238E27FC236}">
                  <a16:creationId xmlns:a16="http://schemas.microsoft.com/office/drawing/2014/main" id="{ACFD5B30-C2E8-7941-A024-36CBEC697A08}"/>
                </a:ext>
              </a:extLst>
            </p:cNvPr>
            <p:cNvSpPr/>
            <p:nvPr/>
          </p:nvSpPr>
          <p:spPr>
            <a:xfrm>
              <a:off x="821813"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1" name="Freeform 50">
              <a:extLst>
                <a:ext uri="{FF2B5EF4-FFF2-40B4-BE49-F238E27FC236}">
                  <a16:creationId xmlns:a16="http://schemas.microsoft.com/office/drawing/2014/main" id="{9B3F61D8-EC0C-5F4E-A30B-918D9E387B73}"/>
                </a:ext>
              </a:extLst>
            </p:cNvPr>
            <p:cNvSpPr/>
            <p:nvPr/>
          </p:nvSpPr>
          <p:spPr>
            <a:xfrm>
              <a:off x="915109"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2" name="Freeform 51">
              <a:extLst>
                <a:ext uri="{FF2B5EF4-FFF2-40B4-BE49-F238E27FC236}">
                  <a16:creationId xmlns:a16="http://schemas.microsoft.com/office/drawing/2014/main" id="{6E785AFD-88C2-F649-A04B-4DC0EF7CCD11}"/>
                </a:ext>
              </a:extLst>
            </p:cNvPr>
            <p:cNvSpPr/>
            <p:nvPr/>
          </p:nvSpPr>
          <p:spPr>
            <a:xfrm>
              <a:off x="821816" y="4307138"/>
              <a:ext cx="30739" cy="30738"/>
            </a:xfrm>
            <a:custGeom>
              <a:avLst/>
              <a:gdLst>
                <a:gd name="connsiteX0" fmla="*/ 15366 w 30739"/>
                <a:gd name="connsiteY0" fmla="*/ 0 h 30738"/>
                <a:gd name="connsiteX1" fmla="*/ 0 w 30739"/>
                <a:gd name="connsiteY1" fmla="*/ 15373 h 30738"/>
                <a:gd name="connsiteX2" fmla="*/ 15374 w 30739"/>
                <a:gd name="connsiteY2" fmla="*/ 30739 h 30738"/>
                <a:gd name="connsiteX3" fmla="*/ 30736 w 30739"/>
                <a:gd name="connsiteY3" fmla="*/ 15702 h 30738"/>
                <a:gd name="connsiteX4" fmla="*/ 15702 w 30739"/>
                <a:gd name="connsiteY4" fmla="*/ 3 h 30738"/>
                <a:gd name="connsiteX5" fmla="*/ 15366 w 30739"/>
                <a:gd name="connsiteY5" fmla="*/ 0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9" h="30738">
                  <a:moveTo>
                    <a:pt x="15366" y="0"/>
                  </a:moveTo>
                  <a:cubicBezTo>
                    <a:pt x="6878" y="2"/>
                    <a:pt x="-2" y="6885"/>
                    <a:pt x="0" y="15373"/>
                  </a:cubicBezTo>
                  <a:cubicBezTo>
                    <a:pt x="2" y="23862"/>
                    <a:pt x="6885" y="30741"/>
                    <a:pt x="15374" y="30739"/>
                  </a:cubicBezTo>
                  <a:cubicBezTo>
                    <a:pt x="23730" y="30737"/>
                    <a:pt x="30555" y="24057"/>
                    <a:pt x="30736" y="15702"/>
                  </a:cubicBezTo>
                  <a:cubicBezTo>
                    <a:pt x="30919" y="7215"/>
                    <a:pt x="24188" y="187"/>
                    <a:pt x="15702" y="3"/>
                  </a:cubicBezTo>
                  <a:cubicBezTo>
                    <a:pt x="15590" y="2"/>
                    <a:pt x="15478" y="0"/>
                    <a:pt x="15366"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3" name="Freeform 52">
              <a:extLst>
                <a:ext uri="{FF2B5EF4-FFF2-40B4-BE49-F238E27FC236}">
                  <a16:creationId xmlns:a16="http://schemas.microsoft.com/office/drawing/2014/main" id="{CCD3AE49-F227-6447-A084-509DE26FCF15}"/>
                </a:ext>
              </a:extLst>
            </p:cNvPr>
            <p:cNvSpPr/>
            <p:nvPr/>
          </p:nvSpPr>
          <p:spPr>
            <a:xfrm>
              <a:off x="915113" y="4307138"/>
              <a:ext cx="30739" cy="30738"/>
            </a:xfrm>
            <a:custGeom>
              <a:avLst/>
              <a:gdLst>
                <a:gd name="connsiteX0" fmla="*/ 15366 w 30739"/>
                <a:gd name="connsiteY0" fmla="*/ 0 h 30738"/>
                <a:gd name="connsiteX1" fmla="*/ 0 w 30739"/>
                <a:gd name="connsiteY1" fmla="*/ 15373 h 30738"/>
                <a:gd name="connsiteX2" fmla="*/ 15374 w 30739"/>
                <a:gd name="connsiteY2" fmla="*/ 30739 h 30738"/>
                <a:gd name="connsiteX3" fmla="*/ 30736 w 30739"/>
                <a:gd name="connsiteY3" fmla="*/ 15702 h 30738"/>
                <a:gd name="connsiteX4" fmla="*/ 15702 w 30739"/>
                <a:gd name="connsiteY4" fmla="*/ 3 h 30738"/>
                <a:gd name="connsiteX5" fmla="*/ 15366 w 30739"/>
                <a:gd name="connsiteY5" fmla="*/ 0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9" h="30738">
                  <a:moveTo>
                    <a:pt x="15366" y="0"/>
                  </a:moveTo>
                  <a:cubicBezTo>
                    <a:pt x="6878" y="2"/>
                    <a:pt x="-2" y="6885"/>
                    <a:pt x="0" y="15373"/>
                  </a:cubicBezTo>
                  <a:cubicBezTo>
                    <a:pt x="3" y="23862"/>
                    <a:pt x="6885" y="30741"/>
                    <a:pt x="15374" y="30739"/>
                  </a:cubicBezTo>
                  <a:cubicBezTo>
                    <a:pt x="23730" y="30737"/>
                    <a:pt x="30555" y="24057"/>
                    <a:pt x="30736" y="15702"/>
                  </a:cubicBezTo>
                  <a:cubicBezTo>
                    <a:pt x="30919" y="7215"/>
                    <a:pt x="24188" y="187"/>
                    <a:pt x="15702" y="3"/>
                  </a:cubicBezTo>
                  <a:cubicBezTo>
                    <a:pt x="15590" y="2"/>
                    <a:pt x="15478" y="0"/>
                    <a:pt x="15366"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4" name="Freeform 53">
              <a:extLst>
                <a:ext uri="{FF2B5EF4-FFF2-40B4-BE49-F238E27FC236}">
                  <a16:creationId xmlns:a16="http://schemas.microsoft.com/office/drawing/2014/main" id="{421BB42C-DDE8-B947-A641-E354322C4166}"/>
                </a:ext>
              </a:extLst>
            </p:cNvPr>
            <p:cNvSpPr/>
            <p:nvPr/>
          </p:nvSpPr>
          <p:spPr>
            <a:xfrm>
              <a:off x="821813" y="4400435"/>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8"/>
                    <a:pt x="6881" y="30739"/>
                    <a:pt x="15369" y="30739"/>
                  </a:cubicBezTo>
                  <a:cubicBezTo>
                    <a:pt x="23857" y="30739"/>
                    <a:pt x="30739" y="23858"/>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5" name="Freeform 54">
              <a:extLst>
                <a:ext uri="{FF2B5EF4-FFF2-40B4-BE49-F238E27FC236}">
                  <a16:creationId xmlns:a16="http://schemas.microsoft.com/office/drawing/2014/main" id="{541922DB-7DB5-7540-8387-58271F4ACDCE}"/>
                </a:ext>
              </a:extLst>
            </p:cNvPr>
            <p:cNvSpPr/>
            <p:nvPr/>
          </p:nvSpPr>
          <p:spPr>
            <a:xfrm>
              <a:off x="915109" y="4400435"/>
              <a:ext cx="30738" cy="30738"/>
            </a:xfrm>
            <a:custGeom>
              <a:avLst/>
              <a:gdLst>
                <a:gd name="connsiteX0" fmla="*/ 30739 w 30738"/>
                <a:gd name="connsiteY0" fmla="*/ 15369 h 30738"/>
                <a:gd name="connsiteX1" fmla="*/ 15369 w 30738"/>
                <a:gd name="connsiteY1" fmla="*/ 30739 h 30738"/>
                <a:gd name="connsiteX2" fmla="*/ 0 w 30738"/>
                <a:gd name="connsiteY2" fmla="*/ 15369 h 30738"/>
                <a:gd name="connsiteX3" fmla="*/ 15369 w 30738"/>
                <a:gd name="connsiteY3" fmla="*/ 0 h 30738"/>
                <a:gd name="connsiteX4" fmla="*/ 30739 w 30738"/>
                <a:gd name="connsiteY4" fmla="*/ 15369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30739" y="15369"/>
                  </a:moveTo>
                  <a:cubicBezTo>
                    <a:pt x="30739" y="23858"/>
                    <a:pt x="23858" y="30739"/>
                    <a:pt x="15369" y="30739"/>
                  </a:cubicBezTo>
                  <a:cubicBezTo>
                    <a:pt x="6881" y="30739"/>
                    <a:pt x="0" y="23858"/>
                    <a:pt x="0" y="15369"/>
                  </a:cubicBezTo>
                  <a:cubicBezTo>
                    <a:pt x="0" y="6881"/>
                    <a:pt x="6881" y="0"/>
                    <a:pt x="15369" y="0"/>
                  </a:cubicBezTo>
                  <a:cubicBezTo>
                    <a:pt x="23858" y="0"/>
                    <a:pt x="30739" y="6881"/>
                    <a:pt x="30739" y="15369"/>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6" name="Freeform 55">
              <a:extLst>
                <a:ext uri="{FF2B5EF4-FFF2-40B4-BE49-F238E27FC236}">
                  <a16:creationId xmlns:a16="http://schemas.microsoft.com/office/drawing/2014/main" id="{FC4A92CF-0D3C-EB48-B73B-C15733DEFAE6}"/>
                </a:ext>
              </a:extLst>
            </p:cNvPr>
            <p:cNvSpPr/>
            <p:nvPr/>
          </p:nvSpPr>
          <p:spPr>
            <a:xfrm>
              <a:off x="728184"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7" name="Freeform 56">
              <a:extLst>
                <a:ext uri="{FF2B5EF4-FFF2-40B4-BE49-F238E27FC236}">
                  <a16:creationId xmlns:a16="http://schemas.microsoft.com/office/drawing/2014/main" id="{44829111-FD52-EF44-B03D-65ECE3B32A5C}"/>
                </a:ext>
              </a:extLst>
            </p:cNvPr>
            <p:cNvSpPr/>
            <p:nvPr/>
          </p:nvSpPr>
          <p:spPr>
            <a:xfrm>
              <a:off x="728437" y="4307136"/>
              <a:ext cx="30738" cy="30738"/>
            </a:xfrm>
            <a:custGeom>
              <a:avLst/>
              <a:gdLst>
                <a:gd name="connsiteX0" fmla="*/ 15116 w 30738"/>
                <a:gd name="connsiteY0" fmla="*/ 2 h 30738"/>
                <a:gd name="connsiteX1" fmla="*/ 2 w 30738"/>
                <a:gd name="connsiteY1" fmla="*/ 15622 h 30738"/>
                <a:gd name="connsiteX2" fmla="*/ 15622 w 30738"/>
                <a:gd name="connsiteY2" fmla="*/ 30737 h 30738"/>
                <a:gd name="connsiteX3" fmla="*/ 30735 w 30738"/>
                <a:gd name="connsiteY3" fmla="*/ 15704 h 30738"/>
                <a:gd name="connsiteX4" fmla="*/ 15704 w 30738"/>
                <a:gd name="connsiteY4" fmla="*/ 4 h 30738"/>
                <a:gd name="connsiteX5" fmla="*/ 15116 w 30738"/>
                <a:gd name="connsiteY5" fmla="*/ 2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8" h="30738">
                  <a:moveTo>
                    <a:pt x="15116" y="2"/>
                  </a:moveTo>
                  <a:cubicBezTo>
                    <a:pt x="6629" y="142"/>
                    <a:pt x="-137" y="7135"/>
                    <a:pt x="2" y="15622"/>
                  </a:cubicBezTo>
                  <a:cubicBezTo>
                    <a:pt x="142" y="24110"/>
                    <a:pt x="7135" y="30876"/>
                    <a:pt x="15622" y="30737"/>
                  </a:cubicBezTo>
                  <a:cubicBezTo>
                    <a:pt x="23881" y="30600"/>
                    <a:pt x="30556" y="23962"/>
                    <a:pt x="30735" y="15704"/>
                  </a:cubicBezTo>
                  <a:cubicBezTo>
                    <a:pt x="30920" y="7217"/>
                    <a:pt x="24190" y="188"/>
                    <a:pt x="15704" y="4"/>
                  </a:cubicBezTo>
                  <a:cubicBezTo>
                    <a:pt x="15508" y="0"/>
                    <a:pt x="15313" y="-1"/>
                    <a:pt x="15116" y="2"/>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58" name="Freeform 57">
              <a:extLst>
                <a:ext uri="{FF2B5EF4-FFF2-40B4-BE49-F238E27FC236}">
                  <a16:creationId xmlns:a16="http://schemas.microsoft.com/office/drawing/2014/main" id="{C8968061-3258-FC4E-86FB-10B506B9CEA7}"/>
                </a:ext>
              </a:extLst>
            </p:cNvPr>
            <p:cNvSpPr/>
            <p:nvPr/>
          </p:nvSpPr>
          <p:spPr>
            <a:xfrm rot="21588600">
              <a:off x="728398" y="4400460"/>
              <a:ext cx="30738" cy="30738"/>
            </a:xfrm>
            <a:custGeom>
              <a:avLst/>
              <a:gdLst>
                <a:gd name="connsiteX0" fmla="*/ 30739 w 30738"/>
                <a:gd name="connsiteY0" fmla="*/ 15369 h 30738"/>
                <a:gd name="connsiteX1" fmla="*/ 15369 w 30738"/>
                <a:gd name="connsiteY1" fmla="*/ 30739 h 30738"/>
                <a:gd name="connsiteX2" fmla="*/ 0 w 30738"/>
                <a:gd name="connsiteY2" fmla="*/ 15369 h 30738"/>
                <a:gd name="connsiteX3" fmla="*/ 15369 w 30738"/>
                <a:gd name="connsiteY3" fmla="*/ 0 h 30738"/>
                <a:gd name="connsiteX4" fmla="*/ 30739 w 30738"/>
                <a:gd name="connsiteY4" fmla="*/ 15369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30739" y="15369"/>
                  </a:moveTo>
                  <a:cubicBezTo>
                    <a:pt x="30739" y="23858"/>
                    <a:pt x="23858" y="30739"/>
                    <a:pt x="15369" y="30739"/>
                  </a:cubicBezTo>
                  <a:cubicBezTo>
                    <a:pt x="6881" y="30739"/>
                    <a:pt x="0" y="23858"/>
                    <a:pt x="0" y="15369"/>
                  </a:cubicBezTo>
                  <a:cubicBezTo>
                    <a:pt x="0" y="6881"/>
                    <a:pt x="6881" y="0"/>
                    <a:pt x="15369" y="0"/>
                  </a:cubicBezTo>
                  <a:cubicBezTo>
                    <a:pt x="23858" y="0"/>
                    <a:pt x="30739" y="6881"/>
                    <a:pt x="30739" y="15369"/>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grpSp>
      <p:grpSp>
        <p:nvGrpSpPr>
          <p:cNvPr id="60" name="Group 59">
            <a:extLst>
              <a:ext uri="{FF2B5EF4-FFF2-40B4-BE49-F238E27FC236}">
                <a16:creationId xmlns:a16="http://schemas.microsoft.com/office/drawing/2014/main" id="{61D6469E-1A52-8C46-90BB-CA8C1DB88B64}"/>
              </a:ext>
            </a:extLst>
          </p:cNvPr>
          <p:cNvGrpSpPr/>
          <p:nvPr/>
        </p:nvGrpSpPr>
        <p:grpSpPr>
          <a:xfrm>
            <a:off x="1679955" y="3819473"/>
            <a:ext cx="265762" cy="265382"/>
            <a:chOff x="728184" y="4213842"/>
            <a:chExt cx="217668" cy="217356"/>
          </a:xfrm>
          <a:solidFill>
            <a:schemeClr val="tx2"/>
          </a:solidFill>
        </p:grpSpPr>
        <p:sp>
          <p:nvSpPr>
            <p:cNvPr id="61" name="Freeform 60">
              <a:extLst>
                <a:ext uri="{FF2B5EF4-FFF2-40B4-BE49-F238E27FC236}">
                  <a16:creationId xmlns:a16="http://schemas.microsoft.com/office/drawing/2014/main" id="{E9FA3D58-02FE-2547-BB35-D2B68ADE7595}"/>
                </a:ext>
              </a:extLst>
            </p:cNvPr>
            <p:cNvSpPr/>
            <p:nvPr/>
          </p:nvSpPr>
          <p:spPr>
            <a:xfrm>
              <a:off x="821813"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2" name="Freeform 61">
              <a:extLst>
                <a:ext uri="{FF2B5EF4-FFF2-40B4-BE49-F238E27FC236}">
                  <a16:creationId xmlns:a16="http://schemas.microsoft.com/office/drawing/2014/main" id="{53E41612-717F-BF40-B1E2-6413CB4903FE}"/>
                </a:ext>
              </a:extLst>
            </p:cNvPr>
            <p:cNvSpPr/>
            <p:nvPr/>
          </p:nvSpPr>
          <p:spPr>
            <a:xfrm>
              <a:off x="915109"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3" name="Freeform 62">
              <a:extLst>
                <a:ext uri="{FF2B5EF4-FFF2-40B4-BE49-F238E27FC236}">
                  <a16:creationId xmlns:a16="http://schemas.microsoft.com/office/drawing/2014/main" id="{5BA050C9-7383-DE40-ADD1-00C6B355737F}"/>
                </a:ext>
              </a:extLst>
            </p:cNvPr>
            <p:cNvSpPr/>
            <p:nvPr/>
          </p:nvSpPr>
          <p:spPr>
            <a:xfrm>
              <a:off x="821816" y="4307138"/>
              <a:ext cx="30739" cy="30738"/>
            </a:xfrm>
            <a:custGeom>
              <a:avLst/>
              <a:gdLst>
                <a:gd name="connsiteX0" fmla="*/ 15366 w 30739"/>
                <a:gd name="connsiteY0" fmla="*/ 0 h 30738"/>
                <a:gd name="connsiteX1" fmla="*/ 0 w 30739"/>
                <a:gd name="connsiteY1" fmla="*/ 15373 h 30738"/>
                <a:gd name="connsiteX2" fmla="*/ 15374 w 30739"/>
                <a:gd name="connsiteY2" fmla="*/ 30739 h 30738"/>
                <a:gd name="connsiteX3" fmla="*/ 30736 w 30739"/>
                <a:gd name="connsiteY3" fmla="*/ 15702 h 30738"/>
                <a:gd name="connsiteX4" fmla="*/ 15702 w 30739"/>
                <a:gd name="connsiteY4" fmla="*/ 3 h 30738"/>
                <a:gd name="connsiteX5" fmla="*/ 15366 w 30739"/>
                <a:gd name="connsiteY5" fmla="*/ 0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9" h="30738">
                  <a:moveTo>
                    <a:pt x="15366" y="0"/>
                  </a:moveTo>
                  <a:cubicBezTo>
                    <a:pt x="6878" y="2"/>
                    <a:pt x="-2" y="6885"/>
                    <a:pt x="0" y="15373"/>
                  </a:cubicBezTo>
                  <a:cubicBezTo>
                    <a:pt x="2" y="23862"/>
                    <a:pt x="6885" y="30741"/>
                    <a:pt x="15374" y="30739"/>
                  </a:cubicBezTo>
                  <a:cubicBezTo>
                    <a:pt x="23730" y="30737"/>
                    <a:pt x="30555" y="24057"/>
                    <a:pt x="30736" y="15702"/>
                  </a:cubicBezTo>
                  <a:cubicBezTo>
                    <a:pt x="30919" y="7215"/>
                    <a:pt x="24188" y="187"/>
                    <a:pt x="15702" y="3"/>
                  </a:cubicBezTo>
                  <a:cubicBezTo>
                    <a:pt x="15590" y="2"/>
                    <a:pt x="15478" y="0"/>
                    <a:pt x="15366"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4" name="Freeform 63">
              <a:extLst>
                <a:ext uri="{FF2B5EF4-FFF2-40B4-BE49-F238E27FC236}">
                  <a16:creationId xmlns:a16="http://schemas.microsoft.com/office/drawing/2014/main" id="{720E73D4-3D52-3743-A01F-7769A1F20E65}"/>
                </a:ext>
              </a:extLst>
            </p:cNvPr>
            <p:cNvSpPr/>
            <p:nvPr/>
          </p:nvSpPr>
          <p:spPr>
            <a:xfrm>
              <a:off x="915113" y="4307138"/>
              <a:ext cx="30739" cy="30738"/>
            </a:xfrm>
            <a:custGeom>
              <a:avLst/>
              <a:gdLst>
                <a:gd name="connsiteX0" fmla="*/ 15366 w 30739"/>
                <a:gd name="connsiteY0" fmla="*/ 0 h 30738"/>
                <a:gd name="connsiteX1" fmla="*/ 0 w 30739"/>
                <a:gd name="connsiteY1" fmla="*/ 15373 h 30738"/>
                <a:gd name="connsiteX2" fmla="*/ 15374 w 30739"/>
                <a:gd name="connsiteY2" fmla="*/ 30739 h 30738"/>
                <a:gd name="connsiteX3" fmla="*/ 30736 w 30739"/>
                <a:gd name="connsiteY3" fmla="*/ 15702 h 30738"/>
                <a:gd name="connsiteX4" fmla="*/ 15702 w 30739"/>
                <a:gd name="connsiteY4" fmla="*/ 3 h 30738"/>
                <a:gd name="connsiteX5" fmla="*/ 15366 w 30739"/>
                <a:gd name="connsiteY5" fmla="*/ 0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9" h="30738">
                  <a:moveTo>
                    <a:pt x="15366" y="0"/>
                  </a:moveTo>
                  <a:cubicBezTo>
                    <a:pt x="6878" y="2"/>
                    <a:pt x="-2" y="6885"/>
                    <a:pt x="0" y="15373"/>
                  </a:cubicBezTo>
                  <a:cubicBezTo>
                    <a:pt x="3" y="23862"/>
                    <a:pt x="6885" y="30741"/>
                    <a:pt x="15374" y="30739"/>
                  </a:cubicBezTo>
                  <a:cubicBezTo>
                    <a:pt x="23730" y="30737"/>
                    <a:pt x="30555" y="24057"/>
                    <a:pt x="30736" y="15702"/>
                  </a:cubicBezTo>
                  <a:cubicBezTo>
                    <a:pt x="30919" y="7215"/>
                    <a:pt x="24188" y="187"/>
                    <a:pt x="15702" y="3"/>
                  </a:cubicBezTo>
                  <a:cubicBezTo>
                    <a:pt x="15590" y="2"/>
                    <a:pt x="15478" y="0"/>
                    <a:pt x="15366"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5" name="Freeform 64">
              <a:extLst>
                <a:ext uri="{FF2B5EF4-FFF2-40B4-BE49-F238E27FC236}">
                  <a16:creationId xmlns:a16="http://schemas.microsoft.com/office/drawing/2014/main" id="{734538F0-3CA4-D845-AC86-D9782FCC1202}"/>
                </a:ext>
              </a:extLst>
            </p:cNvPr>
            <p:cNvSpPr/>
            <p:nvPr/>
          </p:nvSpPr>
          <p:spPr>
            <a:xfrm>
              <a:off x="821813" y="4400435"/>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8"/>
                    <a:pt x="6881" y="30739"/>
                    <a:pt x="15369" y="30739"/>
                  </a:cubicBezTo>
                  <a:cubicBezTo>
                    <a:pt x="23857" y="30739"/>
                    <a:pt x="30739" y="23858"/>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6" name="Freeform 65">
              <a:extLst>
                <a:ext uri="{FF2B5EF4-FFF2-40B4-BE49-F238E27FC236}">
                  <a16:creationId xmlns:a16="http://schemas.microsoft.com/office/drawing/2014/main" id="{81497137-7D76-B94D-91CC-6AB23DAD915D}"/>
                </a:ext>
              </a:extLst>
            </p:cNvPr>
            <p:cNvSpPr/>
            <p:nvPr/>
          </p:nvSpPr>
          <p:spPr>
            <a:xfrm>
              <a:off x="915109" y="4400435"/>
              <a:ext cx="30738" cy="30738"/>
            </a:xfrm>
            <a:custGeom>
              <a:avLst/>
              <a:gdLst>
                <a:gd name="connsiteX0" fmla="*/ 30739 w 30738"/>
                <a:gd name="connsiteY0" fmla="*/ 15369 h 30738"/>
                <a:gd name="connsiteX1" fmla="*/ 15369 w 30738"/>
                <a:gd name="connsiteY1" fmla="*/ 30739 h 30738"/>
                <a:gd name="connsiteX2" fmla="*/ 0 w 30738"/>
                <a:gd name="connsiteY2" fmla="*/ 15369 h 30738"/>
                <a:gd name="connsiteX3" fmla="*/ 15369 w 30738"/>
                <a:gd name="connsiteY3" fmla="*/ 0 h 30738"/>
                <a:gd name="connsiteX4" fmla="*/ 30739 w 30738"/>
                <a:gd name="connsiteY4" fmla="*/ 15369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30739" y="15369"/>
                  </a:moveTo>
                  <a:cubicBezTo>
                    <a:pt x="30739" y="23858"/>
                    <a:pt x="23858" y="30739"/>
                    <a:pt x="15369" y="30739"/>
                  </a:cubicBezTo>
                  <a:cubicBezTo>
                    <a:pt x="6881" y="30739"/>
                    <a:pt x="0" y="23858"/>
                    <a:pt x="0" y="15369"/>
                  </a:cubicBezTo>
                  <a:cubicBezTo>
                    <a:pt x="0" y="6881"/>
                    <a:pt x="6881" y="0"/>
                    <a:pt x="15369" y="0"/>
                  </a:cubicBezTo>
                  <a:cubicBezTo>
                    <a:pt x="23858" y="0"/>
                    <a:pt x="30739" y="6881"/>
                    <a:pt x="30739" y="15369"/>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7" name="Freeform 66">
              <a:extLst>
                <a:ext uri="{FF2B5EF4-FFF2-40B4-BE49-F238E27FC236}">
                  <a16:creationId xmlns:a16="http://schemas.microsoft.com/office/drawing/2014/main" id="{29168546-338C-624A-A9EB-7F2F2ACA3A70}"/>
                </a:ext>
              </a:extLst>
            </p:cNvPr>
            <p:cNvSpPr/>
            <p:nvPr/>
          </p:nvSpPr>
          <p:spPr>
            <a:xfrm>
              <a:off x="728184" y="4213842"/>
              <a:ext cx="30738" cy="30738"/>
            </a:xfrm>
            <a:custGeom>
              <a:avLst/>
              <a:gdLst>
                <a:gd name="connsiteX0" fmla="*/ 15369 w 30738"/>
                <a:gd name="connsiteY0" fmla="*/ 0 h 30738"/>
                <a:gd name="connsiteX1" fmla="*/ 0 w 30738"/>
                <a:gd name="connsiteY1" fmla="*/ 15369 h 30738"/>
                <a:gd name="connsiteX2" fmla="*/ 15369 w 30738"/>
                <a:gd name="connsiteY2" fmla="*/ 30739 h 30738"/>
                <a:gd name="connsiteX3" fmla="*/ 30739 w 30738"/>
                <a:gd name="connsiteY3" fmla="*/ 15369 h 30738"/>
                <a:gd name="connsiteX4" fmla="*/ 15369 w 30738"/>
                <a:gd name="connsiteY4" fmla="*/ 0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15369" y="0"/>
                  </a:moveTo>
                  <a:cubicBezTo>
                    <a:pt x="6881" y="0"/>
                    <a:pt x="0" y="6881"/>
                    <a:pt x="0" y="15369"/>
                  </a:cubicBezTo>
                  <a:cubicBezTo>
                    <a:pt x="0" y="23857"/>
                    <a:pt x="6881" y="30739"/>
                    <a:pt x="15369" y="30739"/>
                  </a:cubicBezTo>
                  <a:cubicBezTo>
                    <a:pt x="23857" y="30739"/>
                    <a:pt x="30739" y="23857"/>
                    <a:pt x="30739" y="15369"/>
                  </a:cubicBezTo>
                  <a:cubicBezTo>
                    <a:pt x="30739" y="6881"/>
                    <a:pt x="23857" y="0"/>
                    <a:pt x="15369" y="0"/>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8" name="Freeform 67">
              <a:extLst>
                <a:ext uri="{FF2B5EF4-FFF2-40B4-BE49-F238E27FC236}">
                  <a16:creationId xmlns:a16="http://schemas.microsoft.com/office/drawing/2014/main" id="{11B34096-0240-DD4A-BA89-2D4082D6CF28}"/>
                </a:ext>
              </a:extLst>
            </p:cNvPr>
            <p:cNvSpPr/>
            <p:nvPr/>
          </p:nvSpPr>
          <p:spPr>
            <a:xfrm>
              <a:off x="728437" y="4307136"/>
              <a:ext cx="30738" cy="30738"/>
            </a:xfrm>
            <a:custGeom>
              <a:avLst/>
              <a:gdLst>
                <a:gd name="connsiteX0" fmla="*/ 15116 w 30738"/>
                <a:gd name="connsiteY0" fmla="*/ 2 h 30738"/>
                <a:gd name="connsiteX1" fmla="*/ 2 w 30738"/>
                <a:gd name="connsiteY1" fmla="*/ 15622 h 30738"/>
                <a:gd name="connsiteX2" fmla="*/ 15622 w 30738"/>
                <a:gd name="connsiteY2" fmla="*/ 30737 h 30738"/>
                <a:gd name="connsiteX3" fmla="*/ 30735 w 30738"/>
                <a:gd name="connsiteY3" fmla="*/ 15704 h 30738"/>
                <a:gd name="connsiteX4" fmla="*/ 15704 w 30738"/>
                <a:gd name="connsiteY4" fmla="*/ 4 h 30738"/>
                <a:gd name="connsiteX5" fmla="*/ 15116 w 30738"/>
                <a:gd name="connsiteY5" fmla="*/ 2 h 3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38" h="30738">
                  <a:moveTo>
                    <a:pt x="15116" y="2"/>
                  </a:moveTo>
                  <a:cubicBezTo>
                    <a:pt x="6629" y="142"/>
                    <a:pt x="-137" y="7135"/>
                    <a:pt x="2" y="15622"/>
                  </a:cubicBezTo>
                  <a:cubicBezTo>
                    <a:pt x="142" y="24110"/>
                    <a:pt x="7135" y="30876"/>
                    <a:pt x="15622" y="30737"/>
                  </a:cubicBezTo>
                  <a:cubicBezTo>
                    <a:pt x="23881" y="30600"/>
                    <a:pt x="30556" y="23962"/>
                    <a:pt x="30735" y="15704"/>
                  </a:cubicBezTo>
                  <a:cubicBezTo>
                    <a:pt x="30920" y="7217"/>
                    <a:pt x="24190" y="188"/>
                    <a:pt x="15704" y="4"/>
                  </a:cubicBezTo>
                  <a:cubicBezTo>
                    <a:pt x="15508" y="0"/>
                    <a:pt x="15313" y="-1"/>
                    <a:pt x="15116" y="2"/>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sp>
          <p:nvSpPr>
            <p:cNvPr id="69" name="Freeform 68">
              <a:extLst>
                <a:ext uri="{FF2B5EF4-FFF2-40B4-BE49-F238E27FC236}">
                  <a16:creationId xmlns:a16="http://schemas.microsoft.com/office/drawing/2014/main" id="{E25458FA-7B51-4045-AD95-CB71BD580371}"/>
                </a:ext>
              </a:extLst>
            </p:cNvPr>
            <p:cNvSpPr/>
            <p:nvPr/>
          </p:nvSpPr>
          <p:spPr>
            <a:xfrm rot="21588600">
              <a:off x="728398" y="4400460"/>
              <a:ext cx="30738" cy="30738"/>
            </a:xfrm>
            <a:custGeom>
              <a:avLst/>
              <a:gdLst>
                <a:gd name="connsiteX0" fmla="*/ 30739 w 30738"/>
                <a:gd name="connsiteY0" fmla="*/ 15369 h 30738"/>
                <a:gd name="connsiteX1" fmla="*/ 15369 w 30738"/>
                <a:gd name="connsiteY1" fmla="*/ 30739 h 30738"/>
                <a:gd name="connsiteX2" fmla="*/ 0 w 30738"/>
                <a:gd name="connsiteY2" fmla="*/ 15369 h 30738"/>
                <a:gd name="connsiteX3" fmla="*/ 15369 w 30738"/>
                <a:gd name="connsiteY3" fmla="*/ 0 h 30738"/>
                <a:gd name="connsiteX4" fmla="*/ 30739 w 30738"/>
                <a:gd name="connsiteY4" fmla="*/ 15369 h 3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38" h="30738">
                  <a:moveTo>
                    <a:pt x="30739" y="15369"/>
                  </a:moveTo>
                  <a:cubicBezTo>
                    <a:pt x="30739" y="23858"/>
                    <a:pt x="23858" y="30739"/>
                    <a:pt x="15369" y="30739"/>
                  </a:cubicBezTo>
                  <a:cubicBezTo>
                    <a:pt x="6881" y="30739"/>
                    <a:pt x="0" y="23858"/>
                    <a:pt x="0" y="15369"/>
                  </a:cubicBezTo>
                  <a:cubicBezTo>
                    <a:pt x="0" y="6881"/>
                    <a:pt x="6881" y="0"/>
                    <a:pt x="15369" y="0"/>
                  </a:cubicBezTo>
                  <a:cubicBezTo>
                    <a:pt x="23858" y="0"/>
                    <a:pt x="30739" y="6881"/>
                    <a:pt x="30739" y="15369"/>
                  </a:cubicBezTo>
                  <a:close/>
                </a:path>
              </a:pathLst>
            </a:custGeom>
            <a:grpFill/>
            <a:ln w="8268" cap="flat">
              <a:noFill/>
              <a:prstDash val="solid"/>
              <a:miter/>
            </a:ln>
          </p:spPr>
          <p:txBody>
            <a:bodyPr rtlCol="0" anchor="ct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Arial" charset="0"/>
                <a:ea typeface="ＭＳ Ｐゴシック" charset="0"/>
              </a:endParaRPr>
            </a:p>
          </p:txBody>
        </p:sp>
      </p:grpSp>
      <p:sp>
        <p:nvSpPr>
          <p:cNvPr id="38" name="Rectangle 37">
            <a:extLst>
              <a:ext uri="{FF2B5EF4-FFF2-40B4-BE49-F238E27FC236}">
                <a16:creationId xmlns:a16="http://schemas.microsoft.com/office/drawing/2014/main" id="{0E7DFD6D-A4FF-E944-A501-974E69B8C776}"/>
              </a:ext>
            </a:extLst>
          </p:cNvPr>
          <p:cNvSpPr/>
          <p:nvPr/>
        </p:nvSpPr>
        <p:spPr>
          <a:xfrm>
            <a:off x="2226321" y="3728585"/>
            <a:ext cx="4831772" cy="507831"/>
          </a:xfrm>
          <a:prstGeom prst="rect">
            <a:avLst/>
          </a:prstGeom>
        </p:spPr>
        <p:txBody>
          <a:bodyPr wrap="none">
            <a:spAutoFit/>
          </a:bodyPr>
          <a:lstStyle/>
          <a:p>
            <a:pPr marL="0" marR="0" lvl="0" indent="0" algn="ctr" defTabSz="685766" rtl="0" eaLnBrk="1" fontAlgn="base" latinLnBrk="0" hangingPunct="1">
              <a:lnSpc>
                <a:spcPct val="100000"/>
              </a:lnSpc>
              <a:spcBef>
                <a:spcPct val="0"/>
              </a:spcBef>
              <a:spcAft>
                <a:spcPct val="0"/>
              </a:spcAft>
              <a:buClrTx/>
              <a:buSzTx/>
              <a:buFontTx/>
              <a:buNone/>
              <a:tabLst/>
              <a:defRPr/>
            </a:pPr>
            <a:r>
              <a:rPr kumimoji="0" lang="en-US" sz="2700" b="0" i="0" u="none" strike="noStrike" kern="1200" cap="none" spc="0" normalizeH="0" baseline="0" noProof="0">
                <a:ln>
                  <a:noFill/>
                </a:ln>
                <a:solidFill>
                  <a:srgbClr val="1E4471"/>
                </a:solidFill>
                <a:effectLst/>
                <a:uLnTx/>
                <a:uFillTx/>
                <a:latin typeface="CiscoSansTT" panose="020B0503020201020303" pitchFamily="34" charset="0"/>
                <a:ea typeface=""/>
                <a:cs typeface="CiscoSansTT" panose="020B0503020201020303" pitchFamily="34" charset="0"/>
              </a:rPr>
              <a:t>A new approach is needed…</a:t>
            </a:r>
          </a:p>
        </p:txBody>
      </p:sp>
      <p:pic>
        <p:nvPicPr>
          <p:cNvPr id="77" name="Picture 76">
            <a:extLst>
              <a:ext uri="{FF2B5EF4-FFF2-40B4-BE49-F238E27FC236}">
                <a16:creationId xmlns:a16="http://schemas.microsoft.com/office/drawing/2014/main" id="{36EFA094-7BA8-CE49-AD60-73DC7CA9D7F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0824" y="1320703"/>
            <a:ext cx="1065497" cy="1065497"/>
          </a:xfrm>
          <a:prstGeom prst="rect">
            <a:avLst/>
          </a:prstGeom>
        </p:spPr>
      </p:pic>
      <p:pic>
        <p:nvPicPr>
          <p:cNvPr id="80" name="Picture 79" descr="A picture containing text&#10;&#10;Description automatically generated">
            <a:extLst>
              <a:ext uri="{FF2B5EF4-FFF2-40B4-BE49-F238E27FC236}">
                <a16:creationId xmlns:a16="http://schemas.microsoft.com/office/drawing/2014/main" id="{A10049B3-CBE6-8E45-B8A4-92A8D59CF04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24136" y="1320703"/>
            <a:ext cx="1065497" cy="1065497"/>
          </a:xfrm>
          <a:prstGeom prst="rect">
            <a:avLst/>
          </a:prstGeom>
        </p:spPr>
      </p:pic>
      <p:sp>
        <p:nvSpPr>
          <p:cNvPr id="28" name="Rectangle 27">
            <a:extLst>
              <a:ext uri="{FF2B5EF4-FFF2-40B4-BE49-F238E27FC236}">
                <a16:creationId xmlns:a16="http://schemas.microsoft.com/office/drawing/2014/main" id="{A0483B2E-DFEA-D94B-974C-64E2C23BA4C7}"/>
              </a:ext>
            </a:extLst>
          </p:cNvPr>
          <p:cNvSpPr/>
          <p:nvPr/>
        </p:nvSpPr>
        <p:spPr>
          <a:xfrm>
            <a:off x="6012574" y="2336965"/>
            <a:ext cx="2450839" cy="1015663"/>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CiscoSansTT ExtraLight" panose="020B0303020201020303" pitchFamily="34" charset="0"/>
              </a:rPr>
              <a:t>…deliver high quality user experience</a:t>
            </a:r>
          </a:p>
        </p:txBody>
      </p:sp>
      <p:pic>
        <p:nvPicPr>
          <p:cNvPr id="30" name="Picture 29" descr="A picture containing text&#10;&#10;Description automatically generated">
            <a:extLst>
              <a:ext uri="{FF2B5EF4-FFF2-40B4-BE49-F238E27FC236}">
                <a16:creationId xmlns:a16="http://schemas.microsoft.com/office/drawing/2014/main" id="{FD3F7E76-2BFA-B04C-88C9-0FA9DA80AC11}"/>
              </a:ext>
            </a:extLst>
          </p:cNvPr>
          <p:cNvPicPr>
            <a:picLocks noChangeAspect="1"/>
          </p:cNvPicPr>
          <p:nvPr/>
        </p:nvPicPr>
        <p:blipFill>
          <a:blip r:embed="rId5"/>
          <a:stretch>
            <a:fillRect/>
          </a:stretch>
        </p:blipFill>
        <p:spPr>
          <a:xfrm>
            <a:off x="6705244" y="1297106"/>
            <a:ext cx="1065497" cy="1065497"/>
          </a:xfrm>
          <a:prstGeom prst="rect">
            <a:avLst/>
          </a:prstGeom>
        </p:spPr>
      </p:pic>
    </p:spTree>
    <p:extLst>
      <p:ext uri="{BB962C8B-B14F-4D97-AF65-F5344CB8AC3E}">
        <p14:creationId xmlns:p14="http://schemas.microsoft.com/office/powerpoint/2010/main" val="38135508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B7BED7-685B-433E-820F-E0D49AD29D87}"/>
              </a:ext>
            </a:extLst>
          </p:cNvPr>
          <p:cNvSpPr>
            <a:spLocks noGrp="1"/>
          </p:cNvSpPr>
          <p:nvPr>
            <p:ph type="body" sz="quarter" idx="11"/>
          </p:nvPr>
        </p:nvSpPr>
        <p:spPr/>
        <p:txBody>
          <a:bodyPr/>
          <a:lstStyle/>
          <a:p>
            <a:r>
              <a:rPr lang="en-US"/>
              <a:t>Drives the need for a secure access service edge (SASE) architecture</a:t>
            </a:r>
          </a:p>
        </p:txBody>
      </p:sp>
      <p:sp>
        <p:nvSpPr>
          <p:cNvPr id="3" name="Title 2">
            <a:extLst>
              <a:ext uri="{FF2B5EF4-FFF2-40B4-BE49-F238E27FC236}">
                <a16:creationId xmlns:a16="http://schemas.microsoft.com/office/drawing/2014/main" id="{39997ED8-E156-4F19-B6E2-679F4434ED79}"/>
              </a:ext>
            </a:extLst>
          </p:cNvPr>
          <p:cNvSpPr>
            <a:spLocks noGrp="1"/>
          </p:cNvSpPr>
          <p:nvPr>
            <p:ph type="title"/>
          </p:nvPr>
        </p:nvSpPr>
        <p:spPr/>
        <p:txBody>
          <a:bodyPr/>
          <a:lstStyle/>
          <a:p>
            <a:r>
              <a:rPr lang="en-US"/>
              <a:t>Today’s cloud-centric world</a:t>
            </a:r>
          </a:p>
        </p:txBody>
      </p:sp>
      <p:sp>
        <p:nvSpPr>
          <p:cNvPr id="61" name="Google Shape;480;p80">
            <a:extLst>
              <a:ext uri="{FF2B5EF4-FFF2-40B4-BE49-F238E27FC236}">
                <a16:creationId xmlns:a16="http://schemas.microsoft.com/office/drawing/2014/main" id="{803E1742-1B10-2D48-9AAB-9848BE20DB66}"/>
              </a:ext>
            </a:extLst>
          </p:cNvPr>
          <p:cNvSpPr txBox="1"/>
          <p:nvPr/>
        </p:nvSpPr>
        <p:spPr>
          <a:xfrm>
            <a:off x="442991" y="1655763"/>
            <a:ext cx="4148747" cy="2466328"/>
          </a:xfrm>
          <a:prstGeom prst="rect">
            <a:avLst/>
          </a:prstGeom>
          <a:noFill/>
          <a:ln>
            <a:noFill/>
          </a:ln>
        </p:spPr>
        <p:txBody>
          <a:bodyPr spcFirstLastPara="1" wrap="square" lIns="91425" tIns="45700" rIns="91425" bIns="45700" anchor="t" anchorCtr="0">
            <a:noAutofit/>
          </a:bodyPr>
          <a:lstStyle/>
          <a:p>
            <a:pPr marL="228600" marR="0" lvl="0" indent="-219456" algn="l" defTabSz="457200" rtl="0" eaLnBrk="1" fontAlgn="base" latinLnBrk="0" hangingPunct="1">
              <a:lnSpc>
                <a:spcPct val="95000"/>
              </a:lnSpc>
              <a:spcBef>
                <a:spcPts val="0"/>
              </a:spcBef>
              <a:spcAft>
                <a:spcPts val="600"/>
              </a:spcAft>
              <a:buClrTx/>
              <a:buSzPct val="80000"/>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CiscoSansTT ExtraLight"/>
                <a:ea typeface="Arial"/>
                <a:cs typeface="Arial"/>
                <a:sym typeface="Arial"/>
              </a:rPr>
              <a:t>Combine networking and security functions in the cloud</a:t>
            </a:r>
          </a:p>
          <a:p>
            <a:pPr marL="228600" marR="0" lvl="0" indent="-219456" algn="l" defTabSz="457200" rtl="0" eaLnBrk="1" fontAlgn="base" latinLnBrk="0" hangingPunct="1">
              <a:lnSpc>
                <a:spcPct val="95000"/>
              </a:lnSpc>
              <a:spcBef>
                <a:spcPts val="0"/>
              </a:spcBef>
              <a:spcAft>
                <a:spcPts val="600"/>
              </a:spcAft>
              <a:buClrTx/>
              <a:buSzPct val="80000"/>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CiscoSansTT ExtraLight"/>
                <a:ea typeface="Arial"/>
                <a:cs typeface="Arial"/>
                <a:sym typeface="Arial"/>
              </a:rPr>
              <a:t>Connect users to the apps and data needed — in any environment, from anywhere</a:t>
            </a:r>
          </a:p>
          <a:p>
            <a:pPr marL="228600" marR="0" lvl="0" indent="-219456" algn="l" defTabSz="457200" rtl="0" eaLnBrk="1" fontAlgn="base" latinLnBrk="0" hangingPunct="1">
              <a:lnSpc>
                <a:spcPct val="95000"/>
              </a:lnSpc>
              <a:spcBef>
                <a:spcPts val="0"/>
              </a:spcBef>
              <a:spcAft>
                <a:spcPts val="600"/>
              </a:spcAft>
              <a:buClrTx/>
              <a:buSzPct val="80000"/>
              <a:buFont typeface="Arial" panose="020B0604020202020204" pitchFamily="34" charset="0"/>
              <a:buChar char="•"/>
              <a:tabLst/>
              <a:defRPr/>
            </a:pPr>
            <a:r>
              <a:rPr kumimoji="0" lang="en-US" sz="1800" b="0" i="0" u="none" strike="noStrike" kern="1200" cap="none" spc="0" normalizeH="0" baseline="0" noProof="0">
                <a:ln>
                  <a:noFill/>
                </a:ln>
                <a:solidFill>
                  <a:srgbClr val="282828"/>
                </a:solidFill>
                <a:effectLst/>
                <a:uLnTx/>
                <a:uFillTx/>
                <a:latin typeface="CiscoSansTT ExtraLight"/>
                <a:ea typeface="Arial"/>
                <a:cs typeface="Arial"/>
                <a:sym typeface="Arial"/>
              </a:rPr>
              <a:t>Control access and enforce the right security protection consistently</a:t>
            </a:r>
          </a:p>
        </p:txBody>
      </p:sp>
      <p:cxnSp>
        <p:nvCxnSpPr>
          <p:cNvPr id="59" name="Google Shape;419;p79">
            <a:extLst>
              <a:ext uri="{FF2B5EF4-FFF2-40B4-BE49-F238E27FC236}">
                <a16:creationId xmlns:a16="http://schemas.microsoft.com/office/drawing/2014/main" id="{F7FEB571-BB06-944F-A91A-EE337C003BFC}"/>
              </a:ext>
            </a:extLst>
          </p:cNvPr>
          <p:cNvCxnSpPr>
            <a:cxnSpLocks/>
          </p:cNvCxnSpPr>
          <p:nvPr/>
        </p:nvCxnSpPr>
        <p:spPr>
          <a:xfrm>
            <a:off x="0" y="4326225"/>
            <a:ext cx="9144000" cy="0"/>
          </a:xfrm>
          <a:prstGeom prst="straightConnector1">
            <a:avLst/>
          </a:prstGeom>
          <a:noFill/>
          <a:ln w="12700" cap="flat" cmpd="sng">
            <a:solidFill>
              <a:schemeClr val="tx1"/>
            </a:solidFill>
            <a:prstDash val="solid"/>
            <a:miter lim="800000"/>
            <a:headEnd type="none" w="med" len="med"/>
            <a:tailEnd type="none" w="med" len="med"/>
          </a:ln>
        </p:spPr>
      </p:cxnSp>
      <p:cxnSp>
        <p:nvCxnSpPr>
          <p:cNvPr id="64" name="Google Shape;368;p79">
            <a:extLst>
              <a:ext uri="{FF2B5EF4-FFF2-40B4-BE49-F238E27FC236}">
                <a16:creationId xmlns:a16="http://schemas.microsoft.com/office/drawing/2014/main" id="{A212EF7F-4150-1149-B22B-AD27D77EBE64}"/>
              </a:ext>
            </a:extLst>
          </p:cNvPr>
          <p:cNvCxnSpPr>
            <a:cxnSpLocks/>
          </p:cNvCxnSpPr>
          <p:nvPr/>
        </p:nvCxnSpPr>
        <p:spPr>
          <a:xfrm flipV="1">
            <a:off x="6826159" y="3129338"/>
            <a:ext cx="0" cy="487165"/>
          </a:xfrm>
          <a:prstGeom prst="straightConnector1">
            <a:avLst/>
          </a:prstGeom>
          <a:noFill/>
          <a:ln w="12700" cap="flat" cmpd="sng">
            <a:solidFill>
              <a:schemeClr val="accent2"/>
            </a:solidFill>
            <a:prstDash val="solid"/>
            <a:round/>
            <a:headEnd type="none" w="med" len="med"/>
            <a:tailEnd type="triangle" w="med" len="med"/>
          </a:ln>
        </p:spPr>
      </p:cxnSp>
      <p:sp>
        <p:nvSpPr>
          <p:cNvPr id="69" name="Google Shape;554;p80">
            <a:extLst>
              <a:ext uri="{FF2B5EF4-FFF2-40B4-BE49-F238E27FC236}">
                <a16:creationId xmlns:a16="http://schemas.microsoft.com/office/drawing/2014/main" id="{7EEC7F40-5DC4-2549-AFD7-EF6545033435}"/>
              </a:ext>
            </a:extLst>
          </p:cNvPr>
          <p:cNvSpPr txBox="1"/>
          <p:nvPr/>
        </p:nvSpPr>
        <p:spPr>
          <a:xfrm>
            <a:off x="5911782" y="4352798"/>
            <a:ext cx="1841694" cy="276999"/>
          </a:xfrm>
          <a:prstGeom prst="rect">
            <a:avLst/>
          </a:prstGeom>
          <a:noFill/>
          <a:ln>
            <a:noFill/>
          </a:ln>
        </p:spPr>
        <p:txBody>
          <a:bodyPr spcFirstLastPara="1" wrap="square" lIns="91425" tIns="45700" rIns="91425" bIns="45700" anchor="t"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t>Headquarters/</a:t>
            </a:r>
            <a:b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br>
            <a: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t>campus</a:t>
            </a:r>
          </a:p>
          <a:p>
            <a:pPr marL="0" marR="0" lvl="0" indent="0" algn="ctr" defTabSz="4572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endParaRPr>
          </a:p>
        </p:txBody>
      </p:sp>
      <p:sp>
        <p:nvSpPr>
          <p:cNvPr id="71" name="Google Shape;538;p80">
            <a:extLst>
              <a:ext uri="{FF2B5EF4-FFF2-40B4-BE49-F238E27FC236}">
                <a16:creationId xmlns:a16="http://schemas.microsoft.com/office/drawing/2014/main" id="{DDD9DE9B-4A84-1040-A9C5-9118AE679DDC}"/>
              </a:ext>
            </a:extLst>
          </p:cNvPr>
          <p:cNvSpPr txBox="1"/>
          <p:nvPr/>
        </p:nvSpPr>
        <p:spPr>
          <a:xfrm>
            <a:off x="5761697" y="2025057"/>
            <a:ext cx="2127787" cy="357889"/>
          </a:xfrm>
          <a:prstGeom prst="rect">
            <a:avLst/>
          </a:prstGeom>
          <a:noFill/>
          <a:ln>
            <a:noFill/>
          </a:ln>
        </p:spPr>
        <p:txBody>
          <a:bodyPr spcFirstLastPara="1" wrap="square" lIns="91425" tIns="45700" rIns="91425" bIns="45700" anchor="t"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Arial"/>
                <a:cs typeface="Arial"/>
                <a:sym typeface="Arial"/>
              </a:rPr>
              <a:t>Interne</a:t>
            </a:r>
            <a:r>
              <a:rPr kumimoji="0" lang="en-US" sz="1400" b="0" i="0" u="none" strike="noStrike" kern="1200" cap="none" spc="300" normalizeH="0" baseline="0" noProof="0">
                <a:ln>
                  <a:noFill/>
                </a:ln>
                <a:solidFill>
                  <a:srgbClr val="0D274D"/>
                </a:solidFill>
                <a:effectLst/>
                <a:uLnTx/>
                <a:uFillTx/>
                <a:latin typeface="CiscoSansTT ExtraLight"/>
                <a:ea typeface="Arial"/>
                <a:cs typeface="Arial"/>
                <a:sym typeface="Arial"/>
              </a:rPr>
              <a:t>t/</a:t>
            </a:r>
            <a:r>
              <a:rPr kumimoji="0" lang="en-US" sz="1400" b="0" i="0" u="none" strike="noStrike" kern="1200" cap="none" spc="0" normalizeH="0" baseline="0" noProof="0">
                <a:ln>
                  <a:noFill/>
                </a:ln>
                <a:solidFill>
                  <a:srgbClr val="0D274D"/>
                </a:solidFill>
                <a:effectLst/>
                <a:uLnTx/>
                <a:uFillTx/>
                <a:latin typeface="CiscoSansTT ExtraLight"/>
                <a:ea typeface="Arial"/>
                <a:cs typeface="Arial"/>
                <a:sym typeface="Arial"/>
              </a:rPr>
              <a:t>Saa</a:t>
            </a:r>
            <a:r>
              <a:rPr kumimoji="0" lang="en-US" sz="1400" b="0" i="0" u="none" strike="noStrike" kern="1200" cap="none" spc="300" normalizeH="0" baseline="0" noProof="0">
                <a:ln>
                  <a:noFill/>
                </a:ln>
                <a:solidFill>
                  <a:srgbClr val="0D274D"/>
                </a:solidFill>
                <a:effectLst/>
                <a:uLnTx/>
                <a:uFillTx/>
                <a:latin typeface="CiscoSansTT ExtraLight"/>
                <a:ea typeface="Arial"/>
                <a:cs typeface="Arial"/>
                <a:sym typeface="Arial"/>
              </a:rPr>
              <a:t>S/</a:t>
            </a:r>
            <a:r>
              <a:rPr kumimoji="0" lang="en-US" sz="1400" b="0" i="0" u="none" strike="noStrike" kern="1200" cap="none" spc="0" normalizeH="0" baseline="0" noProof="0">
                <a:ln>
                  <a:noFill/>
                </a:ln>
                <a:solidFill>
                  <a:srgbClr val="0D274D"/>
                </a:solidFill>
                <a:effectLst/>
                <a:uLnTx/>
                <a:uFillTx/>
                <a:latin typeface="CiscoSansTT ExtraLight"/>
                <a:ea typeface="Arial"/>
                <a:cs typeface="Arial"/>
                <a:sym typeface="Arial"/>
              </a:rPr>
              <a:t>IaaS</a:t>
            </a:r>
            <a:endParaRPr kumimoji="0" sz="1400" b="0" i="0" u="none" strike="noStrike" kern="1200" cap="none" spc="0" normalizeH="0" baseline="0" noProof="0">
              <a:ln>
                <a:noFill/>
              </a:ln>
              <a:solidFill>
                <a:srgbClr val="0D274D"/>
              </a:solidFill>
              <a:effectLst/>
              <a:uLnTx/>
              <a:uFillTx/>
              <a:latin typeface="CiscoSansTT ExtraLight"/>
              <a:ea typeface="ＭＳ Ｐゴシック" charset="0"/>
            </a:endParaRPr>
          </a:p>
        </p:txBody>
      </p:sp>
      <p:grpSp>
        <p:nvGrpSpPr>
          <p:cNvPr id="72" name="Group 71">
            <a:extLst>
              <a:ext uri="{FF2B5EF4-FFF2-40B4-BE49-F238E27FC236}">
                <a16:creationId xmlns:a16="http://schemas.microsoft.com/office/drawing/2014/main" id="{AE5CB703-2856-214F-B4EE-0FD9B134FCD7}"/>
              </a:ext>
            </a:extLst>
          </p:cNvPr>
          <p:cNvGrpSpPr/>
          <p:nvPr/>
        </p:nvGrpSpPr>
        <p:grpSpPr>
          <a:xfrm>
            <a:off x="5279164" y="1291538"/>
            <a:ext cx="3085365" cy="1637479"/>
            <a:chOff x="4561358" y="354672"/>
            <a:chExt cx="3687011" cy="1956789"/>
          </a:xfrm>
        </p:grpSpPr>
        <p:sp>
          <p:nvSpPr>
            <p:cNvPr id="74" name="Freeform 73">
              <a:extLst>
                <a:ext uri="{FF2B5EF4-FFF2-40B4-BE49-F238E27FC236}">
                  <a16:creationId xmlns:a16="http://schemas.microsoft.com/office/drawing/2014/main" id="{0B272309-E111-3745-BCBA-6F8DD0487430}"/>
                </a:ext>
              </a:extLst>
            </p:cNvPr>
            <p:cNvSpPr/>
            <p:nvPr/>
          </p:nvSpPr>
          <p:spPr>
            <a:xfrm>
              <a:off x="4561358" y="354672"/>
              <a:ext cx="3687011" cy="1956789"/>
            </a:xfrm>
            <a:custGeom>
              <a:avLst/>
              <a:gdLst>
                <a:gd name="connsiteX0" fmla="*/ 2828957 w 3260771"/>
                <a:gd name="connsiteY0" fmla="*/ 869076 h 1730573"/>
                <a:gd name="connsiteX1" fmla="*/ 2828957 w 3260771"/>
                <a:gd name="connsiteY1" fmla="*/ 869076 h 1730573"/>
                <a:gd name="connsiteX2" fmla="*/ 2834022 w 3260771"/>
                <a:gd name="connsiteY2" fmla="*/ 799601 h 1730573"/>
                <a:gd name="connsiteX3" fmla="*/ 2243917 w 3260771"/>
                <a:gd name="connsiteY3" fmla="*/ 210953 h 1730573"/>
                <a:gd name="connsiteX4" fmla="*/ 2015980 w 3260771"/>
                <a:gd name="connsiteY4" fmla="*/ 256428 h 1730573"/>
                <a:gd name="connsiteX5" fmla="*/ 1361293 w 3260771"/>
                <a:gd name="connsiteY5" fmla="*/ 0 h 1730573"/>
                <a:gd name="connsiteX6" fmla="*/ 403956 w 3260771"/>
                <a:gd name="connsiteY6" fmla="*/ 870339 h 1730573"/>
                <a:gd name="connsiteX7" fmla="*/ 0 w 3260771"/>
                <a:gd name="connsiteY7" fmla="*/ 1299825 h 1730573"/>
                <a:gd name="connsiteX8" fmla="*/ 431815 w 3260771"/>
                <a:gd name="connsiteY8" fmla="*/ 1730573 h 1730573"/>
                <a:gd name="connsiteX9" fmla="*/ 2828957 w 3260771"/>
                <a:gd name="connsiteY9" fmla="*/ 1730573 h 1730573"/>
                <a:gd name="connsiteX10" fmla="*/ 3260771 w 3260771"/>
                <a:gd name="connsiteY10" fmla="*/ 1299825 h 1730573"/>
                <a:gd name="connsiteX11" fmla="*/ 2828957 w 3260771"/>
                <a:gd name="connsiteY11" fmla="*/ 869076 h 173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0771" h="1730573">
                  <a:moveTo>
                    <a:pt x="2828957" y="869076"/>
                  </a:moveTo>
                  <a:cubicBezTo>
                    <a:pt x="2828957" y="869076"/>
                    <a:pt x="2828957" y="869076"/>
                    <a:pt x="2828957" y="869076"/>
                  </a:cubicBezTo>
                  <a:cubicBezTo>
                    <a:pt x="2831489" y="846339"/>
                    <a:pt x="2834022" y="822338"/>
                    <a:pt x="2834022" y="799601"/>
                  </a:cubicBezTo>
                  <a:cubicBezTo>
                    <a:pt x="2834022" y="474960"/>
                    <a:pt x="2570627" y="210953"/>
                    <a:pt x="2243917" y="210953"/>
                  </a:cubicBezTo>
                  <a:cubicBezTo>
                    <a:pt x="2162873" y="210953"/>
                    <a:pt x="2085627" y="227375"/>
                    <a:pt x="2015980" y="256428"/>
                  </a:cubicBezTo>
                  <a:cubicBezTo>
                    <a:pt x="1845027" y="97266"/>
                    <a:pt x="1614557" y="0"/>
                    <a:pt x="1361293" y="0"/>
                  </a:cubicBezTo>
                  <a:cubicBezTo>
                    <a:pt x="859830" y="0"/>
                    <a:pt x="449543" y="382747"/>
                    <a:pt x="403956" y="870339"/>
                  </a:cubicBezTo>
                  <a:cubicBezTo>
                    <a:pt x="178551" y="884235"/>
                    <a:pt x="0" y="1071187"/>
                    <a:pt x="0" y="1299825"/>
                  </a:cubicBezTo>
                  <a:cubicBezTo>
                    <a:pt x="0" y="1537305"/>
                    <a:pt x="193747" y="1730573"/>
                    <a:pt x="431815" y="1730573"/>
                  </a:cubicBezTo>
                  <a:cubicBezTo>
                    <a:pt x="529321" y="1730573"/>
                    <a:pt x="2612416" y="1730573"/>
                    <a:pt x="2828957" y="1730573"/>
                  </a:cubicBezTo>
                  <a:cubicBezTo>
                    <a:pt x="3067025" y="1730573"/>
                    <a:pt x="3260771" y="1537305"/>
                    <a:pt x="3260771" y="1299825"/>
                  </a:cubicBezTo>
                  <a:cubicBezTo>
                    <a:pt x="3260771" y="1062345"/>
                    <a:pt x="3067025" y="869076"/>
                    <a:pt x="2828957" y="869076"/>
                  </a:cubicBezTo>
                  <a:close/>
                </a:path>
              </a:pathLst>
            </a:custGeom>
            <a:noFill/>
            <a:ln w="38100" cap="rnd">
              <a:solidFill>
                <a:srgbClr val="BFBFBF"/>
              </a:solidFill>
              <a:prstDash val="solid"/>
              <a:round/>
            </a:ln>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75" name="Freeform 74">
              <a:extLst>
                <a:ext uri="{FF2B5EF4-FFF2-40B4-BE49-F238E27FC236}">
                  <a16:creationId xmlns:a16="http://schemas.microsoft.com/office/drawing/2014/main" id="{A9DCA1DA-7063-9B43-9793-7028E43BAEC7}"/>
                </a:ext>
              </a:extLst>
            </p:cNvPr>
            <p:cNvSpPr/>
            <p:nvPr/>
          </p:nvSpPr>
          <p:spPr>
            <a:xfrm>
              <a:off x="4561358" y="1824407"/>
              <a:ext cx="3687011" cy="487054"/>
            </a:xfrm>
            <a:custGeom>
              <a:avLst/>
              <a:gdLst>
                <a:gd name="connsiteX0" fmla="*/ 2828957 w 3260771"/>
                <a:gd name="connsiteY0" fmla="*/ 869076 h 1730573"/>
                <a:gd name="connsiteX1" fmla="*/ 2828957 w 3260771"/>
                <a:gd name="connsiteY1" fmla="*/ 869076 h 1730573"/>
                <a:gd name="connsiteX2" fmla="*/ 2834022 w 3260771"/>
                <a:gd name="connsiteY2" fmla="*/ 799601 h 1730573"/>
                <a:gd name="connsiteX3" fmla="*/ 2243917 w 3260771"/>
                <a:gd name="connsiteY3" fmla="*/ 210953 h 1730573"/>
                <a:gd name="connsiteX4" fmla="*/ 2015980 w 3260771"/>
                <a:gd name="connsiteY4" fmla="*/ 256428 h 1730573"/>
                <a:gd name="connsiteX5" fmla="*/ 1361293 w 3260771"/>
                <a:gd name="connsiteY5" fmla="*/ 0 h 1730573"/>
                <a:gd name="connsiteX6" fmla="*/ 403956 w 3260771"/>
                <a:gd name="connsiteY6" fmla="*/ 870339 h 1730573"/>
                <a:gd name="connsiteX7" fmla="*/ 0 w 3260771"/>
                <a:gd name="connsiteY7" fmla="*/ 1299825 h 1730573"/>
                <a:gd name="connsiteX8" fmla="*/ 431815 w 3260771"/>
                <a:gd name="connsiteY8" fmla="*/ 1730573 h 1730573"/>
                <a:gd name="connsiteX9" fmla="*/ 2828957 w 3260771"/>
                <a:gd name="connsiteY9" fmla="*/ 1730573 h 1730573"/>
                <a:gd name="connsiteX10" fmla="*/ 3260771 w 3260771"/>
                <a:gd name="connsiteY10" fmla="*/ 1299825 h 1730573"/>
                <a:gd name="connsiteX11" fmla="*/ 2828957 w 3260771"/>
                <a:gd name="connsiteY11" fmla="*/ 869076 h 1730573"/>
                <a:gd name="connsiteX0" fmla="*/ 403956 w 3260771"/>
                <a:gd name="connsiteY0" fmla="*/ 870339 h 1730573"/>
                <a:gd name="connsiteX1" fmla="*/ 0 w 3260771"/>
                <a:gd name="connsiteY1" fmla="*/ 1299825 h 1730573"/>
                <a:gd name="connsiteX2" fmla="*/ 431815 w 3260771"/>
                <a:gd name="connsiteY2" fmla="*/ 1730573 h 1730573"/>
                <a:gd name="connsiteX3" fmla="*/ 2828957 w 3260771"/>
                <a:gd name="connsiteY3" fmla="*/ 1730573 h 1730573"/>
                <a:gd name="connsiteX4" fmla="*/ 3260771 w 3260771"/>
                <a:gd name="connsiteY4" fmla="*/ 1299825 h 1730573"/>
                <a:gd name="connsiteX5" fmla="*/ 2828957 w 3260771"/>
                <a:gd name="connsiteY5" fmla="*/ 869076 h 1730573"/>
                <a:gd name="connsiteX6" fmla="*/ 2828957 w 3260771"/>
                <a:gd name="connsiteY6" fmla="*/ 869076 h 1730573"/>
                <a:gd name="connsiteX7" fmla="*/ 2834022 w 3260771"/>
                <a:gd name="connsiteY7" fmla="*/ 799601 h 1730573"/>
                <a:gd name="connsiteX8" fmla="*/ 2243917 w 3260771"/>
                <a:gd name="connsiteY8" fmla="*/ 210953 h 1730573"/>
                <a:gd name="connsiteX9" fmla="*/ 2015980 w 3260771"/>
                <a:gd name="connsiteY9" fmla="*/ 256428 h 1730573"/>
                <a:gd name="connsiteX10" fmla="*/ 1361293 w 3260771"/>
                <a:gd name="connsiteY10" fmla="*/ 0 h 1730573"/>
                <a:gd name="connsiteX11" fmla="*/ 495396 w 3260771"/>
                <a:gd name="connsiteY11" fmla="*/ 961779 h 1730573"/>
                <a:gd name="connsiteX0" fmla="*/ 403956 w 3260771"/>
                <a:gd name="connsiteY0" fmla="*/ 870339 h 1730573"/>
                <a:gd name="connsiteX1" fmla="*/ 0 w 3260771"/>
                <a:gd name="connsiteY1" fmla="*/ 1299825 h 1730573"/>
                <a:gd name="connsiteX2" fmla="*/ 431815 w 3260771"/>
                <a:gd name="connsiteY2" fmla="*/ 1730573 h 1730573"/>
                <a:gd name="connsiteX3" fmla="*/ 2828957 w 3260771"/>
                <a:gd name="connsiteY3" fmla="*/ 1730573 h 1730573"/>
                <a:gd name="connsiteX4" fmla="*/ 3260771 w 3260771"/>
                <a:gd name="connsiteY4" fmla="*/ 1299825 h 1730573"/>
                <a:gd name="connsiteX5" fmla="*/ 2828957 w 3260771"/>
                <a:gd name="connsiteY5" fmla="*/ 869076 h 1730573"/>
                <a:gd name="connsiteX6" fmla="*/ 2828957 w 3260771"/>
                <a:gd name="connsiteY6" fmla="*/ 869076 h 1730573"/>
                <a:gd name="connsiteX7" fmla="*/ 2834022 w 3260771"/>
                <a:gd name="connsiteY7" fmla="*/ 799601 h 1730573"/>
                <a:gd name="connsiteX8" fmla="*/ 2243917 w 3260771"/>
                <a:gd name="connsiteY8" fmla="*/ 210953 h 1730573"/>
                <a:gd name="connsiteX9" fmla="*/ 2015980 w 3260771"/>
                <a:gd name="connsiteY9" fmla="*/ 256428 h 1730573"/>
                <a:gd name="connsiteX10" fmla="*/ 1361293 w 3260771"/>
                <a:gd name="connsiteY10" fmla="*/ 0 h 1730573"/>
                <a:gd name="connsiteX0" fmla="*/ 0 w 3260771"/>
                <a:gd name="connsiteY0" fmla="*/ 1299825 h 1730573"/>
                <a:gd name="connsiteX1" fmla="*/ 431815 w 3260771"/>
                <a:gd name="connsiteY1" fmla="*/ 1730573 h 1730573"/>
                <a:gd name="connsiteX2" fmla="*/ 2828957 w 3260771"/>
                <a:gd name="connsiteY2" fmla="*/ 1730573 h 1730573"/>
                <a:gd name="connsiteX3" fmla="*/ 3260771 w 3260771"/>
                <a:gd name="connsiteY3" fmla="*/ 1299825 h 1730573"/>
                <a:gd name="connsiteX4" fmla="*/ 2828957 w 3260771"/>
                <a:gd name="connsiteY4" fmla="*/ 869076 h 1730573"/>
                <a:gd name="connsiteX5" fmla="*/ 2828957 w 3260771"/>
                <a:gd name="connsiteY5" fmla="*/ 869076 h 1730573"/>
                <a:gd name="connsiteX6" fmla="*/ 2834022 w 3260771"/>
                <a:gd name="connsiteY6" fmla="*/ 799601 h 1730573"/>
                <a:gd name="connsiteX7" fmla="*/ 2243917 w 3260771"/>
                <a:gd name="connsiteY7" fmla="*/ 210953 h 1730573"/>
                <a:gd name="connsiteX8" fmla="*/ 2015980 w 3260771"/>
                <a:gd name="connsiteY8" fmla="*/ 256428 h 1730573"/>
                <a:gd name="connsiteX9" fmla="*/ 1361293 w 3260771"/>
                <a:gd name="connsiteY9" fmla="*/ 0 h 1730573"/>
                <a:gd name="connsiteX0" fmla="*/ 0 w 3260771"/>
                <a:gd name="connsiteY0" fmla="*/ 1088872 h 1519620"/>
                <a:gd name="connsiteX1" fmla="*/ 431815 w 3260771"/>
                <a:gd name="connsiteY1" fmla="*/ 1519620 h 1519620"/>
                <a:gd name="connsiteX2" fmla="*/ 2828957 w 3260771"/>
                <a:gd name="connsiteY2" fmla="*/ 1519620 h 1519620"/>
                <a:gd name="connsiteX3" fmla="*/ 3260771 w 3260771"/>
                <a:gd name="connsiteY3" fmla="*/ 1088872 h 1519620"/>
                <a:gd name="connsiteX4" fmla="*/ 2828957 w 3260771"/>
                <a:gd name="connsiteY4" fmla="*/ 658123 h 1519620"/>
                <a:gd name="connsiteX5" fmla="*/ 2828957 w 3260771"/>
                <a:gd name="connsiteY5" fmla="*/ 658123 h 1519620"/>
                <a:gd name="connsiteX6" fmla="*/ 2834022 w 3260771"/>
                <a:gd name="connsiteY6" fmla="*/ 588648 h 1519620"/>
                <a:gd name="connsiteX7" fmla="*/ 2243917 w 3260771"/>
                <a:gd name="connsiteY7" fmla="*/ 0 h 1519620"/>
                <a:gd name="connsiteX8" fmla="*/ 2015980 w 3260771"/>
                <a:gd name="connsiteY8" fmla="*/ 45475 h 1519620"/>
                <a:gd name="connsiteX0" fmla="*/ 0 w 3260771"/>
                <a:gd name="connsiteY0" fmla="*/ 1088872 h 1519620"/>
                <a:gd name="connsiteX1" fmla="*/ 431815 w 3260771"/>
                <a:gd name="connsiteY1" fmla="*/ 1519620 h 1519620"/>
                <a:gd name="connsiteX2" fmla="*/ 2828957 w 3260771"/>
                <a:gd name="connsiteY2" fmla="*/ 1519620 h 1519620"/>
                <a:gd name="connsiteX3" fmla="*/ 3260771 w 3260771"/>
                <a:gd name="connsiteY3" fmla="*/ 1088872 h 1519620"/>
                <a:gd name="connsiteX4" fmla="*/ 2828957 w 3260771"/>
                <a:gd name="connsiteY4" fmla="*/ 658123 h 1519620"/>
                <a:gd name="connsiteX5" fmla="*/ 2828957 w 3260771"/>
                <a:gd name="connsiteY5" fmla="*/ 658123 h 1519620"/>
                <a:gd name="connsiteX6" fmla="*/ 2834022 w 3260771"/>
                <a:gd name="connsiteY6" fmla="*/ 588648 h 1519620"/>
                <a:gd name="connsiteX7" fmla="*/ 2243917 w 3260771"/>
                <a:gd name="connsiteY7" fmla="*/ 0 h 1519620"/>
                <a:gd name="connsiteX0" fmla="*/ 0 w 3260771"/>
                <a:gd name="connsiteY0" fmla="*/ 500224 h 930972"/>
                <a:gd name="connsiteX1" fmla="*/ 431815 w 3260771"/>
                <a:gd name="connsiteY1" fmla="*/ 930972 h 930972"/>
                <a:gd name="connsiteX2" fmla="*/ 2828957 w 3260771"/>
                <a:gd name="connsiteY2" fmla="*/ 930972 h 930972"/>
                <a:gd name="connsiteX3" fmla="*/ 3260771 w 3260771"/>
                <a:gd name="connsiteY3" fmla="*/ 500224 h 930972"/>
                <a:gd name="connsiteX4" fmla="*/ 2828957 w 3260771"/>
                <a:gd name="connsiteY4" fmla="*/ 69475 h 930972"/>
                <a:gd name="connsiteX5" fmla="*/ 2828957 w 3260771"/>
                <a:gd name="connsiteY5" fmla="*/ 69475 h 930972"/>
                <a:gd name="connsiteX6" fmla="*/ 2834022 w 3260771"/>
                <a:gd name="connsiteY6" fmla="*/ 0 h 930972"/>
                <a:gd name="connsiteX0" fmla="*/ 0 w 3260771"/>
                <a:gd name="connsiteY0" fmla="*/ 430749 h 861497"/>
                <a:gd name="connsiteX1" fmla="*/ 431815 w 3260771"/>
                <a:gd name="connsiteY1" fmla="*/ 861497 h 861497"/>
                <a:gd name="connsiteX2" fmla="*/ 2828957 w 3260771"/>
                <a:gd name="connsiteY2" fmla="*/ 861497 h 861497"/>
                <a:gd name="connsiteX3" fmla="*/ 3260771 w 3260771"/>
                <a:gd name="connsiteY3" fmla="*/ 430749 h 861497"/>
                <a:gd name="connsiteX4" fmla="*/ 2828957 w 3260771"/>
                <a:gd name="connsiteY4" fmla="*/ 0 h 861497"/>
                <a:gd name="connsiteX5" fmla="*/ 2828957 w 3260771"/>
                <a:gd name="connsiteY5" fmla="*/ 0 h 861497"/>
                <a:gd name="connsiteX0" fmla="*/ 0 w 3260771"/>
                <a:gd name="connsiteY0" fmla="*/ 430749 h 861497"/>
                <a:gd name="connsiteX1" fmla="*/ 431815 w 3260771"/>
                <a:gd name="connsiteY1" fmla="*/ 861497 h 861497"/>
                <a:gd name="connsiteX2" fmla="*/ 2828957 w 3260771"/>
                <a:gd name="connsiteY2" fmla="*/ 861497 h 861497"/>
                <a:gd name="connsiteX3" fmla="*/ 3260771 w 3260771"/>
                <a:gd name="connsiteY3" fmla="*/ 430749 h 861497"/>
                <a:gd name="connsiteX4" fmla="*/ 2828957 w 3260771"/>
                <a:gd name="connsiteY4" fmla="*/ 0 h 861497"/>
                <a:gd name="connsiteX0" fmla="*/ 0 w 3260771"/>
                <a:gd name="connsiteY0" fmla="*/ 0 h 430748"/>
                <a:gd name="connsiteX1" fmla="*/ 431815 w 3260771"/>
                <a:gd name="connsiteY1" fmla="*/ 430748 h 430748"/>
                <a:gd name="connsiteX2" fmla="*/ 2828957 w 3260771"/>
                <a:gd name="connsiteY2" fmla="*/ 430748 h 430748"/>
                <a:gd name="connsiteX3" fmla="*/ 3260771 w 3260771"/>
                <a:gd name="connsiteY3" fmla="*/ 0 h 430748"/>
              </a:gdLst>
              <a:ahLst/>
              <a:cxnLst>
                <a:cxn ang="0">
                  <a:pos x="connsiteX0" y="connsiteY0"/>
                </a:cxn>
                <a:cxn ang="0">
                  <a:pos x="connsiteX1" y="connsiteY1"/>
                </a:cxn>
                <a:cxn ang="0">
                  <a:pos x="connsiteX2" y="connsiteY2"/>
                </a:cxn>
                <a:cxn ang="0">
                  <a:pos x="connsiteX3" y="connsiteY3"/>
                </a:cxn>
              </a:cxnLst>
              <a:rect l="l" t="t" r="r" b="b"/>
              <a:pathLst>
                <a:path w="3260771" h="430748">
                  <a:moveTo>
                    <a:pt x="0" y="0"/>
                  </a:moveTo>
                  <a:cubicBezTo>
                    <a:pt x="0" y="237480"/>
                    <a:pt x="193747" y="430748"/>
                    <a:pt x="431815" y="430748"/>
                  </a:cubicBezTo>
                  <a:lnTo>
                    <a:pt x="2828957" y="430748"/>
                  </a:lnTo>
                  <a:cubicBezTo>
                    <a:pt x="3067025" y="430748"/>
                    <a:pt x="3260771" y="237480"/>
                    <a:pt x="3260771" y="0"/>
                  </a:cubicBezTo>
                </a:path>
              </a:pathLst>
            </a:custGeom>
            <a:noFill/>
            <a:ln w="63500" cap="rnd">
              <a:solidFill>
                <a:schemeClr val="accent2"/>
              </a:solidFill>
              <a:prstDash val="solid"/>
              <a:round/>
            </a:ln>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grpSp>
      <p:sp>
        <p:nvSpPr>
          <p:cNvPr id="73" name="Rounded Rectangle 72">
            <a:extLst>
              <a:ext uri="{FF2B5EF4-FFF2-40B4-BE49-F238E27FC236}">
                <a16:creationId xmlns:a16="http://schemas.microsoft.com/office/drawing/2014/main" id="{DDC3E78D-5A90-B64E-9BC8-C68371026617}"/>
              </a:ext>
            </a:extLst>
          </p:cNvPr>
          <p:cNvSpPr/>
          <p:nvPr/>
        </p:nvSpPr>
        <p:spPr>
          <a:xfrm>
            <a:off x="5600003" y="2818740"/>
            <a:ext cx="2427512" cy="228838"/>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rPr>
              <a:t>Secure Access Service Edge</a:t>
            </a:r>
          </a:p>
        </p:txBody>
      </p:sp>
      <p:cxnSp>
        <p:nvCxnSpPr>
          <p:cNvPr id="63" name="Google Shape;368;p79">
            <a:extLst>
              <a:ext uri="{FF2B5EF4-FFF2-40B4-BE49-F238E27FC236}">
                <a16:creationId xmlns:a16="http://schemas.microsoft.com/office/drawing/2014/main" id="{B0908713-76FF-634C-A1A0-A1423D1E0D25}"/>
              </a:ext>
            </a:extLst>
          </p:cNvPr>
          <p:cNvCxnSpPr>
            <a:cxnSpLocks/>
          </p:cNvCxnSpPr>
          <p:nvPr/>
        </p:nvCxnSpPr>
        <p:spPr>
          <a:xfrm flipV="1">
            <a:off x="7877651" y="3129336"/>
            <a:ext cx="0" cy="913545"/>
          </a:xfrm>
          <a:prstGeom prst="straightConnector1">
            <a:avLst/>
          </a:prstGeom>
          <a:noFill/>
          <a:ln w="12700" cap="flat" cmpd="sng">
            <a:solidFill>
              <a:schemeClr val="accent2"/>
            </a:solidFill>
            <a:prstDash val="solid"/>
            <a:round/>
            <a:headEnd type="none" w="med" len="med"/>
            <a:tailEnd type="triangle" w="med" len="med"/>
          </a:ln>
        </p:spPr>
      </p:cxnSp>
      <p:sp>
        <p:nvSpPr>
          <p:cNvPr id="68" name="Google Shape;552;p80">
            <a:extLst>
              <a:ext uri="{FF2B5EF4-FFF2-40B4-BE49-F238E27FC236}">
                <a16:creationId xmlns:a16="http://schemas.microsoft.com/office/drawing/2014/main" id="{7736B505-C27E-9041-98AA-B809577BC801}"/>
              </a:ext>
            </a:extLst>
          </p:cNvPr>
          <p:cNvSpPr txBox="1"/>
          <p:nvPr/>
        </p:nvSpPr>
        <p:spPr>
          <a:xfrm>
            <a:off x="7168630" y="4359206"/>
            <a:ext cx="1417920" cy="276999"/>
          </a:xfrm>
          <a:prstGeom prst="rect">
            <a:avLst/>
          </a:prstGeom>
          <a:noFill/>
          <a:ln>
            <a:noFill/>
          </a:ln>
        </p:spPr>
        <p:txBody>
          <a:bodyPr spcFirstLastPara="1" wrap="square" lIns="91425" tIns="45700" rIns="91425" bIns="45700" anchor="t"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t>Remote </a:t>
            </a:r>
            <a:b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br>
            <a: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t>workers</a:t>
            </a:r>
          </a:p>
        </p:txBody>
      </p:sp>
      <p:grpSp>
        <p:nvGrpSpPr>
          <p:cNvPr id="127" name="Group 126">
            <a:extLst>
              <a:ext uri="{FF2B5EF4-FFF2-40B4-BE49-F238E27FC236}">
                <a16:creationId xmlns:a16="http://schemas.microsoft.com/office/drawing/2014/main" id="{87D6A15C-605F-154D-A8EA-EEEE7BBE5330}"/>
              </a:ext>
            </a:extLst>
          </p:cNvPr>
          <p:cNvGrpSpPr/>
          <p:nvPr/>
        </p:nvGrpSpPr>
        <p:grpSpPr>
          <a:xfrm>
            <a:off x="7559592" y="4030461"/>
            <a:ext cx="636119" cy="295764"/>
            <a:chOff x="7141881" y="4002597"/>
            <a:chExt cx="747128" cy="347377"/>
          </a:xfrm>
        </p:grpSpPr>
        <p:grpSp>
          <p:nvGrpSpPr>
            <p:cNvPr id="184" name="Graphic 2">
              <a:extLst>
                <a:ext uri="{FF2B5EF4-FFF2-40B4-BE49-F238E27FC236}">
                  <a16:creationId xmlns:a16="http://schemas.microsoft.com/office/drawing/2014/main" id="{DF3AB3C8-D1D3-D345-A037-71AAB2E9AE7E}"/>
                </a:ext>
              </a:extLst>
            </p:cNvPr>
            <p:cNvGrpSpPr/>
            <p:nvPr/>
          </p:nvGrpSpPr>
          <p:grpSpPr>
            <a:xfrm>
              <a:off x="7691463" y="4005123"/>
              <a:ext cx="197546" cy="344851"/>
              <a:chOff x="7691463" y="4005123"/>
              <a:chExt cx="197546" cy="344851"/>
            </a:xfrm>
          </p:grpSpPr>
          <p:sp>
            <p:nvSpPr>
              <p:cNvPr id="188" name="Freeform 187">
                <a:extLst>
                  <a:ext uri="{FF2B5EF4-FFF2-40B4-BE49-F238E27FC236}">
                    <a16:creationId xmlns:a16="http://schemas.microsoft.com/office/drawing/2014/main" id="{F328FEA9-078B-0846-B99F-4919EFBECD0D}"/>
                  </a:ext>
                </a:extLst>
              </p:cNvPr>
              <p:cNvSpPr/>
              <p:nvPr/>
            </p:nvSpPr>
            <p:spPr>
              <a:xfrm>
                <a:off x="7691463" y="4005123"/>
                <a:ext cx="196279" cy="344851"/>
              </a:xfrm>
              <a:custGeom>
                <a:avLst/>
                <a:gdLst>
                  <a:gd name="connsiteX0" fmla="*/ 196279 w 196279"/>
                  <a:gd name="connsiteY0" fmla="*/ 314535 h 344851"/>
                  <a:gd name="connsiteX1" fmla="*/ 165888 w 196279"/>
                  <a:gd name="connsiteY1" fmla="*/ 344852 h 344851"/>
                  <a:gd name="connsiteX2" fmla="*/ 30392 w 196279"/>
                  <a:gd name="connsiteY2" fmla="*/ 344852 h 344851"/>
                  <a:gd name="connsiteX3" fmla="*/ 0 w 196279"/>
                  <a:gd name="connsiteY3" fmla="*/ 314535 h 344851"/>
                  <a:gd name="connsiteX4" fmla="*/ 0 w 196279"/>
                  <a:gd name="connsiteY4" fmla="*/ 30317 h 344851"/>
                  <a:gd name="connsiteX5" fmla="*/ 30392 w 196279"/>
                  <a:gd name="connsiteY5" fmla="*/ 0 h 344851"/>
                  <a:gd name="connsiteX6" fmla="*/ 165888 w 196279"/>
                  <a:gd name="connsiteY6" fmla="*/ 0 h 344851"/>
                  <a:gd name="connsiteX7" fmla="*/ 196279 w 196279"/>
                  <a:gd name="connsiteY7" fmla="*/ 30317 h 344851"/>
                  <a:gd name="connsiteX8" fmla="*/ 196279 w 196279"/>
                  <a:gd name="connsiteY8" fmla="*/ 314535 h 34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279" h="344851">
                    <a:moveTo>
                      <a:pt x="196279" y="314535"/>
                    </a:moveTo>
                    <a:cubicBezTo>
                      <a:pt x="196279" y="330956"/>
                      <a:pt x="182350" y="344852"/>
                      <a:pt x="165888" y="344852"/>
                    </a:cubicBezTo>
                    <a:lnTo>
                      <a:pt x="30392" y="344852"/>
                    </a:lnTo>
                    <a:cubicBezTo>
                      <a:pt x="13930" y="344852"/>
                      <a:pt x="0" y="330956"/>
                      <a:pt x="0" y="314535"/>
                    </a:cubicBezTo>
                    <a:lnTo>
                      <a:pt x="0" y="30317"/>
                    </a:lnTo>
                    <a:cubicBezTo>
                      <a:pt x="0" y="13895"/>
                      <a:pt x="13930" y="0"/>
                      <a:pt x="30392" y="0"/>
                    </a:cubicBezTo>
                    <a:lnTo>
                      <a:pt x="165888" y="0"/>
                    </a:lnTo>
                    <a:cubicBezTo>
                      <a:pt x="182350" y="0"/>
                      <a:pt x="196279" y="13895"/>
                      <a:pt x="196279" y="30317"/>
                    </a:cubicBezTo>
                    <a:lnTo>
                      <a:pt x="196279" y="314535"/>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9" name="Freeform 188">
                <a:extLst>
                  <a:ext uri="{FF2B5EF4-FFF2-40B4-BE49-F238E27FC236}">
                    <a16:creationId xmlns:a16="http://schemas.microsoft.com/office/drawing/2014/main" id="{33DC6173-11E8-E34D-A1BA-A8704D4FF12A}"/>
                  </a:ext>
                </a:extLst>
              </p:cNvPr>
              <p:cNvSpPr/>
              <p:nvPr/>
            </p:nvSpPr>
            <p:spPr>
              <a:xfrm>
                <a:off x="7691463" y="4005123"/>
                <a:ext cx="196279" cy="60633"/>
              </a:xfrm>
              <a:custGeom>
                <a:avLst/>
                <a:gdLst>
                  <a:gd name="connsiteX0" fmla="*/ 196279 w 196279"/>
                  <a:gd name="connsiteY0" fmla="*/ 30317 h 60633"/>
                  <a:gd name="connsiteX1" fmla="*/ 165888 w 196279"/>
                  <a:gd name="connsiteY1" fmla="*/ 0 h 60633"/>
                  <a:gd name="connsiteX2" fmla="*/ 30392 w 196279"/>
                  <a:gd name="connsiteY2" fmla="*/ 0 h 60633"/>
                  <a:gd name="connsiteX3" fmla="*/ 0 w 196279"/>
                  <a:gd name="connsiteY3" fmla="*/ 30317 h 60633"/>
                  <a:gd name="connsiteX4" fmla="*/ 0 w 196279"/>
                  <a:gd name="connsiteY4" fmla="*/ 60633 h 60633"/>
                  <a:gd name="connsiteX5" fmla="*/ 195013 w 196279"/>
                  <a:gd name="connsiteY5" fmla="*/ 60633 h 60633"/>
                  <a:gd name="connsiteX6" fmla="*/ 195013 w 196279"/>
                  <a:gd name="connsiteY6" fmla="*/ 30317 h 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279" h="60633">
                    <a:moveTo>
                      <a:pt x="196279" y="30317"/>
                    </a:moveTo>
                    <a:cubicBezTo>
                      <a:pt x="196279" y="13895"/>
                      <a:pt x="182350" y="0"/>
                      <a:pt x="165888" y="0"/>
                    </a:cubicBezTo>
                    <a:lnTo>
                      <a:pt x="30392" y="0"/>
                    </a:lnTo>
                    <a:cubicBezTo>
                      <a:pt x="13930" y="0"/>
                      <a:pt x="0" y="13895"/>
                      <a:pt x="0" y="30317"/>
                    </a:cubicBezTo>
                    <a:lnTo>
                      <a:pt x="0" y="60633"/>
                    </a:lnTo>
                    <a:lnTo>
                      <a:pt x="195013" y="60633"/>
                    </a:lnTo>
                    <a:lnTo>
                      <a:pt x="195013" y="30317"/>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0" name="Freeform 189">
                <a:extLst>
                  <a:ext uri="{FF2B5EF4-FFF2-40B4-BE49-F238E27FC236}">
                    <a16:creationId xmlns:a16="http://schemas.microsoft.com/office/drawing/2014/main" id="{1C00988A-D8A5-B74D-9CAC-75CB8A9C769A}"/>
                  </a:ext>
                </a:extLst>
              </p:cNvPr>
              <p:cNvSpPr/>
              <p:nvPr/>
            </p:nvSpPr>
            <p:spPr>
              <a:xfrm>
                <a:off x="7692730" y="4289342"/>
                <a:ext cx="196279" cy="60633"/>
              </a:xfrm>
              <a:custGeom>
                <a:avLst/>
                <a:gdLst>
                  <a:gd name="connsiteX0" fmla="*/ 0 w 196279"/>
                  <a:gd name="connsiteY0" fmla="*/ 30317 h 60633"/>
                  <a:gd name="connsiteX1" fmla="*/ 30391 w 196279"/>
                  <a:gd name="connsiteY1" fmla="*/ 60633 h 60633"/>
                  <a:gd name="connsiteX2" fmla="*/ 165887 w 196279"/>
                  <a:gd name="connsiteY2" fmla="*/ 60633 h 60633"/>
                  <a:gd name="connsiteX3" fmla="*/ 196279 w 196279"/>
                  <a:gd name="connsiteY3" fmla="*/ 30317 h 60633"/>
                  <a:gd name="connsiteX4" fmla="*/ 196279 w 196279"/>
                  <a:gd name="connsiteY4" fmla="*/ 0 h 60633"/>
                  <a:gd name="connsiteX5" fmla="*/ 1266 w 196279"/>
                  <a:gd name="connsiteY5" fmla="*/ 0 h 60633"/>
                  <a:gd name="connsiteX6" fmla="*/ 1266 w 196279"/>
                  <a:gd name="connsiteY6" fmla="*/ 30317 h 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279" h="60633">
                    <a:moveTo>
                      <a:pt x="0" y="30317"/>
                    </a:moveTo>
                    <a:cubicBezTo>
                      <a:pt x="0" y="46738"/>
                      <a:pt x="13929" y="60633"/>
                      <a:pt x="30391" y="60633"/>
                    </a:cubicBezTo>
                    <a:lnTo>
                      <a:pt x="165887" y="60633"/>
                    </a:lnTo>
                    <a:cubicBezTo>
                      <a:pt x="182349" y="60633"/>
                      <a:pt x="196279" y="46738"/>
                      <a:pt x="196279" y="30317"/>
                    </a:cubicBezTo>
                    <a:lnTo>
                      <a:pt x="196279" y="0"/>
                    </a:lnTo>
                    <a:lnTo>
                      <a:pt x="1266" y="0"/>
                    </a:lnTo>
                    <a:lnTo>
                      <a:pt x="1266" y="30317"/>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1" name="Freeform 190">
                <a:extLst>
                  <a:ext uri="{FF2B5EF4-FFF2-40B4-BE49-F238E27FC236}">
                    <a16:creationId xmlns:a16="http://schemas.microsoft.com/office/drawing/2014/main" id="{F3774618-9A49-7F4C-806B-362497A1CB17}"/>
                  </a:ext>
                </a:extLst>
              </p:cNvPr>
              <p:cNvSpPr/>
              <p:nvPr/>
            </p:nvSpPr>
            <p:spPr>
              <a:xfrm>
                <a:off x="7780106" y="4309553"/>
                <a:ext cx="20261" cy="20211"/>
              </a:xfrm>
              <a:custGeom>
                <a:avLst/>
                <a:gdLst>
                  <a:gd name="connsiteX0" fmla="*/ 10130 w 20261"/>
                  <a:gd name="connsiteY0" fmla="*/ 20211 h 20211"/>
                  <a:gd name="connsiteX1" fmla="*/ 0 w 20261"/>
                  <a:gd name="connsiteY1" fmla="*/ 10105 h 20211"/>
                  <a:gd name="connsiteX2" fmla="*/ 0 w 20261"/>
                  <a:gd name="connsiteY2" fmla="*/ 10105 h 20211"/>
                  <a:gd name="connsiteX3" fmla="*/ 10130 w 20261"/>
                  <a:gd name="connsiteY3" fmla="*/ 0 h 20211"/>
                  <a:gd name="connsiteX4" fmla="*/ 10130 w 20261"/>
                  <a:gd name="connsiteY4" fmla="*/ 0 h 20211"/>
                  <a:gd name="connsiteX5" fmla="*/ 20262 w 20261"/>
                  <a:gd name="connsiteY5" fmla="*/ 10105 h 20211"/>
                  <a:gd name="connsiteX6" fmla="*/ 20262 w 20261"/>
                  <a:gd name="connsiteY6" fmla="*/ 10105 h 20211"/>
                  <a:gd name="connsiteX7" fmla="*/ 10130 w 20261"/>
                  <a:gd name="connsiteY7" fmla="*/ 20211 h 20211"/>
                  <a:gd name="connsiteX8" fmla="*/ 10130 w 20261"/>
                  <a:gd name="connsiteY8" fmla="*/ 20211 h 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61" h="20211">
                    <a:moveTo>
                      <a:pt x="10130" y="20211"/>
                    </a:moveTo>
                    <a:cubicBezTo>
                      <a:pt x="5066" y="20211"/>
                      <a:pt x="0" y="16421"/>
                      <a:pt x="0" y="10105"/>
                    </a:cubicBezTo>
                    <a:lnTo>
                      <a:pt x="0" y="10105"/>
                    </a:lnTo>
                    <a:cubicBezTo>
                      <a:pt x="0" y="5053"/>
                      <a:pt x="3799" y="0"/>
                      <a:pt x="10130" y="0"/>
                    </a:cubicBezTo>
                    <a:lnTo>
                      <a:pt x="10130" y="0"/>
                    </a:lnTo>
                    <a:cubicBezTo>
                      <a:pt x="15196" y="0"/>
                      <a:pt x="20262" y="3789"/>
                      <a:pt x="20262" y="10105"/>
                    </a:cubicBezTo>
                    <a:lnTo>
                      <a:pt x="20262" y="10105"/>
                    </a:lnTo>
                    <a:cubicBezTo>
                      <a:pt x="18995" y="16421"/>
                      <a:pt x="15196" y="20211"/>
                      <a:pt x="10130" y="20211"/>
                    </a:cubicBezTo>
                    <a:lnTo>
                      <a:pt x="10130" y="20211"/>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85" name="Graphic 2">
              <a:extLst>
                <a:ext uri="{FF2B5EF4-FFF2-40B4-BE49-F238E27FC236}">
                  <a16:creationId xmlns:a16="http://schemas.microsoft.com/office/drawing/2014/main" id="{AFC59781-FFD8-844D-BE11-81898B40FAD7}"/>
                </a:ext>
              </a:extLst>
            </p:cNvPr>
            <p:cNvGrpSpPr/>
            <p:nvPr/>
          </p:nvGrpSpPr>
          <p:grpSpPr>
            <a:xfrm>
              <a:off x="7141881" y="4002597"/>
              <a:ext cx="466005" cy="343588"/>
              <a:chOff x="7141881" y="4002597"/>
              <a:chExt cx="466005" cy="343588"/>
            </a:xfrm>
          </p:grpSpPr>
          <p:sp>
            <p:nvSpPr>
              <p:cNvPr id="186" name="Freeform 185">
                <a:extLst>
                  <a:ext uri="{FF2B5EF4-FFF2-40B4-BE49-F238E27FC236}">
                    <a16:creationId xmlns:a16="http://schemas.microsoft.com/office/drawing/2014/main" id="{92326E96-E453-E64E-B6D2-21B93163C392}"/>
                  </a:ext>
                </a:extLst>
              </p:cNvPr>
              <p:cNvSpPr/>
              <p:nvPr/>
            </p:nvSpPr>
            <p:spPr>
              <a:xfrm>
                <a:off x="7141881" y="4285552"/>
                <a:ext cx="466005" cy="60633"/>
              </a:xfrm>
              <a:custGeom>
                <a:avLst/>
                <a:gdLst>
                  <a:gd name="connsiteX0" fmla="*/ 283655 w 466005"/>
                  <a:gd name="connsiteY0" fmla="*/ 10105 h 60633"/>
                  <a:gd name="connsiteX1" fmla="*/ 283655 w 466005"/>
                  <a:gd name="connsiteY1" fmla="*/ 10105 h 60633"/>
                  <a:gd name="connsiteX2" fmla="*/ 273525 w 466005"/>
                  <a:gd name="connsiteY2" fmla="*/ 20211 h 60633"/>
                  <a:gd name="connsiteX3" fmla="*/ 192480 w 466005"/>
                  <a:gd name="connsiteY3" fmla="*/ 20211 h 60633"/>
                  <a:gd name="connsiteX4" fmla="*/ 182349 w 466005"/>
                  <a:gd name="connsiteY4" fmla="*/ 10105 h 60633"/>
                  <a:gd name="connsiteX5" fmla="*/ 182349 w 466005"/>
                  <a:gd name="connsiteY5" fmla="*/ 10105 h 60633"/>
                  <a:gd name="connsiteX6" fmla="*/ 172219 w 466005"/>
                  <a:gd name="connsiteY6" fmla="*/ 0 h 60633"/>
                  <a:gd name="connsiteX7" fmla="*/ 10130 w 466005"/>
                  <a:gd name="connsiteY7" fmla="*/ 0 h 60633"/>
                  <a:gd name="connsiteX8" fmla="*/ 0 w 466005"/>
                  <a:gd name="connsiteY8" fmla="*/ 10105 h 60633"/>
                  <a:gd name="connsiteX9" fmla="*/ 0 w 466005"/>
                  <a:gd name="connsiteY9" fmla="*/ 40422 h 60633"/>
                  <a:gd name="connsiteX10" fmla="*/ 20261 w 466005"/>
                  <a:gd name="connsiteY10" fmla="*/ 60633 h 60633"/>
                  <a:gd name="connsiteX11" fmla="*/ 445744 w 466005"/>
                  <a:gd name="connsiteY11" fmla="*/ 60633 h 60633"/>
                  <a:gd name="connsiteX12" fmla="*/ 466005 w 466005"/>
                  <a:gd name="connsiteY12" fmla="*/ 40422 h 60633"/>
                  <a:gd name="connsiteX13" fmla="*/ 466005 w 466005"/>
                  <a:gd name="connsiteY13" fmla="*/ 10105 h 60633"/>
                  <a:gd name="connsiteX14" fmla="*/ 455875 w 466005"/>
                  <a:gd name="connsiteY14" fmla="*/ 0 h 60633"/>
                  <a:gd name="connsiteX15" fmla="*/ 293785 w 466005"/>
                  <a:gd name="connsiteY15" fmla="*/ 0 h 60633"/>
                  <a:gd name="connsiteX16" fmla="*/ 283655 w 466005"/>
                  <a:gd name="connsiteY16" fmla="*/ 10105 h 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005" h="60633">
                    <a:moveTo>
                      <a:pt x="283655" y="10105"/>
                    </a:moveTo>
                    <a:lnTo>
                      <a:pt x="283655" y="10105"/>
                    </a:lnTo>
                    <a:cubicBezTo>
                      <a:pt x="283655" y="15158"/>
                      <a:pt x="278590" y="20211"/>
                      <a:pt x="273525" y="20211"/>
                    </a:cubicBezTo>
                    <a:lnTo>
                      <a:pt x="192480" y="20211"/>
                    </a:lnTo>
                    <a:cubicBezTo>
                      <a:pt x="187415" y="20211"/>
                      <a:pt x="182349" y="15158"/>
                      <a:pt x="182349" y="10105"/>
                    </a:cubicBezTo>
                    <a:lnTo>
                      <a:pt x="182349" y="10105"/>
                    </a:lnTo>
                    <a:cubicBezTo>
                      <a:pt x="182349" y="5053"/>
                      <a:pt x="177285" y="0"/>
                      <a:pt x="172219" y="0"/>
                    </a:cubicBezTo>
                    <a:lnTo>
                      <a:pt x="10130" y="0"/>
                    </a:lnTo>
                    <a:cubicBezTo>
                      <a:pt x="5065" y="0"/>
                      <a:pt x="0" y="5053"/>
                      <a:pt x="0" y="10105"/>
                    </a:cubicBezTo>
                    <a:lnTo>
                      <a:pt x="0" y="40422"/>
                    </a:lnTo>
                    <a:cubicBezTo>
                      <a:pt x="0" y="51791"/>
                      <a:pt x="8864" y="60633"/>
                      <a:pt x="20261" y="60633"/>
                    </a:cubicBezTo>
                    <a:lnTo>
                      <a:pt x="445744" y="60633"/>
                    </a:lnTo>
                    <a:cubicBezTo>
                      <a:pt x="457141" y="60633"/>
                      <a:pt x="466005" y="51791"/>
                      <a:pt x="466005" y="40422"/>
                    </a:cubicBezTo>
                    <a:lnTo>
                      <a:pt x="466005" y="10105"/>
                    </a:lnTo>
                    <a:cubicBezTo>
                      <a:pt x="466005" y="5053"/>
                      <a:pt x="460940" y="0"/>
                      <a:pt x="455875" y="0"/>
                    </a:cubicBezTo>
                    <a:lnTo>
                      <a:pt x="293785" y="0"/>
                    </a:lnTo>
                    <a:cubicBezTo>
                      <a:pt x="288721" y="0"/>
                      <a:pt x="283655" y="3789"/>
                      <a:pt x="283655" y="10105"/>
                    </a:cubicBez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7" name="Freeform 186">
                <a:extLst>
                  <a:ext uri="{FF2B5EF4-FFF2-40B4-BE49-F238E27FC236}">
                    <a16:creationId xmlns:a16="http://schemas.microsoft.com/office/drawing/2014/main" id="{8CB1CE23-5C66-2549-9969-335361F10B53}"/>
                  </a:ext>
                </a:extLst>
              </p:cNvPr>
              <p:cNvSpPr/>
              <p:nvPr/>
            </p:nvSpPr>
            <p:spPr>
              <a:xfrm>
                <a:off x="7162142" y="4002597"/>
                <a:ext cx="425482" cy="303166"/>
              </a:xfrm>
              <a:custGeom>
                <a:avLst/>
                <a:gdLst>
                  <a:gd name="connsiteX0" fmla="*/ 151958 w 425482"/>
                  <a:gd name="connsiteY0" fmla="*/ 282955 h 303166"/>
                  <a:gd name="connsiteX1" fmla="*/ 162089 w 425482"/>
                  <a:gd name="connsiteY1" fmla="*/ 293060 h 303166"/>
                  <a:gd name="connsiteX2" fmla="*/ 172219 w 425482"/>
                  <a:gd name="connsiteY2" fmla="*/ 303166 h 303166"/>
                  <a:gd name="connsiteX3" fmla="*/ 253264 w 425482"/>
                  <a:gd name="connsiteY3" fmla="*/ 303166 h 303166"/>
                  <a:gd name="connsiteX4" fmla="*/ 263394 w 425482"/>
                  <a:gd name="connsiteY4" fmla="*/ 293060 h 303166"/>
                  <a:gd name="connsiteX5" fmla="*/ 273525 w 425482"/>
                  <a:gd name="connsiteY5" fmla="*/ 282955 h 303166"/>
                  <a:gd name="connsiteX6" fmla="*/ 425483 w 425482"/>
                  <a:gd name="connsiteY6" fmla="*/ 282955 h 303166"/>
                  <a:gd name="connsiteX7" fmla="*/ 425483 w 425482"/>
                  <a:gd name="connsiteY7" fmla="*/ 30317 h 303166"/>
                  <a:gd name="connsiteX8" fmla="*/ 395092 w 425482"/>
                  <a:gd name="connsiteY8" fmla="*/ 0 h 303166"/>
                  <a:gd name="connsiteX9" fmla="*/ 30392 w 425482"/>
                  <a:gd name="connsiteY9" fmla="*/ 0 h 303166"/>
                  <a:gd name="connsiteX10" fmla="*/ 0 w 425482"/>
                  <a:gd name="connsiteY10" fmla="*/ 30317 h 303166"/>
                  <a:gd name="connsiteX11" fmla="*/ 0 w 425482"/>
                  <a:gd name="connsiteY11" fmla="*/ 282955 h 303166"/>
                  <a:gd name="connsiteX12" fmla="*/ 151958 w 425482"/>
                  <a:gd name="connsiteY12" fmla="*/ 282955 h 30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482" h="303166">
                    <a:moveTo>
                      <a:pt x="151958" y="282955"/>
                    </a:moveTo>
                    <a:cubicBezTo>
                      <a:pt x="157024" y="282955"/>
                      <a:pt x="162089" y="288008"/>
                      <a:pt x="162089" y="293060"/>
                    </a:cubicBezTo>
                    <a:cubicBezTo>
                      <a:pt x="162089" y="298113"/>
                      <a:pt x="167154" y="303166"/>
                      <a:pt x="172219" y="303166"/>
                    </a:cubicBezTo>
                    <a:lnTo>
                      <a:pt x="253264" y="303166"/>
                    </a:lnTo>
                    <a:cubicBezTo>
                      <a:pt x="258329" y="303166"/>
                      <a:pt x="263394" y="298113"/>
                      <a:pt x="263394" y="293060"/>
                    </a:cubicBezTo>
                    <a:cubicBezTo>
                      <a:pt x="263394" y="288008"/>
                      <a:pt x="268460" y="282955"/>
                      <a:pt x="273525" y="282955"/>
                    </a:cubicBezTo>
                    <a:lnTo>
                      <a:pt x="425483" y="282955"/>
                    </a:lnTo>
                    <a:lnTo>
                      <a:pt x="425483" y="30317"/>
                    </a:lnTo>
                    <a:cubicBezTo>
                      <a:pt x="425483" y="13895"/>
                      <a:pt x="411554" y="0"/>
                      <a:pt x="395092" y="0"/>
                    </a:cubicBezTo>
                    <a:lnTo>
                      <a:pt x="30392" y="0"/>
                    </a:lnTo>
                    <a:cubicBezTo>
                      <a:pt x="13929" y="0"/>
                      <a:pt x="0" y="13895"/>
                      <a:pt x="0" y="30317"/>
                    </a:cubicBezTo>
                    <a:lnTo>
                      <a:pt x="0" y="282955"/>
                    </a:lnTo>
                    <a:lnTo>
                      <a:pt x="151958" y="282955"/>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62" name="Google Shape;368;p79">
            <a:extLst>
              <a:ext uri="{FF2B5EF4-FFF2-40B4-BE49-F238E27FC236}">
                <a16:creationId xmlns:a16="http://schemas.microsoft.com/office/drawing/2014/main" id="{374E1993-F979-1941-8527-54C93E55837F}"/>
              </a:ext>
            </a:extLst>
          </p:cNvPr>
          <p:cNvCxnSpPr>
            <a:cxnSpLocks/>
          </p:cNvCxnSpPr>
          <p:nvPr/>
        </p:nvCxnSpPr>
        <p:spPr>
          <a:xfrm flipV="1">
            <a:off x="5775952" y="3129337"/>
            <a:ext cx="0" cy="774843"/>
          </a:xfrm>
          <a:prstGeom prst="straightConnector1">
            <a:avLst/>
          </a:prstGeom>
          <a:noFill/>
          <a:ln w="12700" cap="flat" cmpd="sng">
            <a:solidFill>
              <a:schemeClr val="accent2"/>
            </a:solidFill>
            <a:prstDash val="solid"/>
            <a:round/>
            <a:headEnd type="none" w="med" len="med"/>
            <a:tailEnd type="triangle" w="med" len="med"/>
          </a:ln>
        </p:spPr>
      </p:cxnSp>
      <p:sp>
        <p:nvSpPr>
          <p:cNvPr id="70" name="Google Shape;553;p80">
            <a:extLst>
              <a:ext uri="{FF2B5EF4-FFF2-40B4-BE49-F238E27FC236}">
                <a16:creationId xmlns:a16="http://schemas.microsoft.com/office/drawing/2014/main" id="{70708F61-F267-1344-9897-1B02D656B339}"/>
              </a:ext>
            </a:extLst>
          </p:cNvPr>
          <p:cNvSpPr txBox="1"/>
          <p:nvPr/>
        </p:nvSpPr>
        <p:spPr>
          <a:xfrm>
            <a:off x="5090463" y="4352800"/>
            <a:ext cx="1377466" cy="276999"/>
          </a:xfrm>
          <a:prstGeom prst="rect">
            <a:avLst/>
          </a:prstGeom>
          <a:noFill/>
          <a:ln>
            <a:noFill/>
          </a:ln>
        </p:spPr>
        <p:txBody>
          <a:bodyPr spcFirstLastPara="1" wrap="square" lIns="91425" tIns="45700" rIns="91425" bIns="45700" anchor="t"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D274D"/>
                </a:solidFill>
                <a:effectLst/>
                <a:uLnTx/>
                <a:uFillTx/>
                <a:latin typeface="CiscoSansTT Light" panose="020B0503020201020303" pitchFamily="34" charset="0"/>
                <a:ea typeface="Arial"/>
                <a:cs typeface="CiscoSansTT Light" panose="020B0503020201020303" pitchFamily="34" charset="0"/>
                <a:sym typeface="Arial"/>
              </a:rPr>
              <a:t>All locations</a:t>
            </a:r>
          </a:p>
        </p:txBody>
      </p:sp>
      <p:grpSp>
        <p:nvGrpSpPr>
          <p:cNvPr id="128" name="Graphic 2">
            <a:extLst>
              <a:ext uri="{FF2B5EF4-FFF2-40B4-BE49-F238E27FC236}">
                <a16:creationId xmlns:a16="http://schemas.microsoft.com/office/drawing/2014/main" id="{672EE70A-6274-794F-8780-BDD5D8C0AC62}"/>
              </a:ext>
            </a:extLst>
          </p:cNvPr>
          <p:cNvGrpSpPr/>
          <p:nvPr/>
        </p:nvGrpSpPr>
        <p:grpSpPr>
          <a:xfrm>
            <a:off x="5516653" y="3842248"/>
            <a:ext cx="518599" cy="483977"/>
            <a:chOff x="3787402" y="3781539"/>
            <a:chExt cx="609099" cy="568436"/>
          </a:xfrm>
        </p:grpSpPr>
        <p:sp>
          <p:nvSpPr>
            <p:cNvPr id="174" name="Freeform 173">
              <a:extLst>
                <a:ext uri="{FF2B5EF4-FFF2-40B4-BE49-F238E27FC236}">
                  <a16:creationId xmlns:a16="http://schemas.microsoft.com/office/drawing/2014/main" id="{47CE3E25-E260-AA46-B8C1-902D427E203C}"/>
                </a:ext>
              </a:extLst>
            </p:cNvPr>
            <p:cNvSpPr/>
            <p:nvPr/>
          </p:nvSpPr>
          <p:spPr>
            <a:xfrm>
              <a:off x="3787402" y="3844698"/>
              <a:ext cx="607833" cy="505276"/>
            </a:xfrm>
            <a:custGeom>
              <a:avLst/>
              <a:gdLst>
                <a:gd name="connsiteX0" fmla="*/ 18995 w 607833"/>
                <a:gd name="connsiteY0" fmla="*/ 0 h 505276"/>
                <a:gd name="connsiteX1" fmla="*/ 590105 w 607833"/>
                <a:gd name="connsiteY1" fmla="*/ 0 h 505276"/>
                <a:gd name="connsiteX2" fmla="*/ 607833 w 607833"/>
                <a:gd name="connsiteY2" fmla="*/ 17685 h 505276"/>
                <a:gd name="connsiteX3" fmla="*/ 607833 w 607833"/>
                <a:gd name="connsiteY3" fmla="*/ 505277 h 505276"/>
                <a:gd name="connsiteX4" fmla="*/ 0 w 607833"/>
                <a:gd name="connsiteY4" fmla="*/ 505277 h 505276"/>
                <a:gd name="connsiteX5" fmla="*/ 0 w 607833"/>
                <a:gd name="connsiteY5" fmla="*/ 17685 h 505276"/>
                <a:gd name="connsiteX6" fmla="*/ 18995 w 607833"/>
                <a:gd name="connsiteY6" fmla="*/ 0 h 50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833" h="505276">
                  <a:moveTo>
                    <a:pt x="18995" y="0"/>
                  </a:moveTo>
                  <a:lnTo>
                    <a:pt x="590105" y="0"/>
                  </a:lnTo>
                  <a:cubicBezTo>
                    <a:pt x="600235" y="0"/>
                    <a:pt x="607833" y="7579"/>
                    <a:pt x="607833" y="17685"/>
                  </a:cubicBezTo>
                  <a:lnTo>
                    <a:pt x="607833" y="505277"/>
                  </a:lnTo>
                  <a:lnTo>
                    <a:pt x="0" y="505277"/>
                  </a:lnTo>
                  <a:lnTo>
                    <a:pt x="0" y="17685"/>
                  </a:lnTo>
                  <a:cubicBezTo>
                    <a:pt x="1266" y="8842"/>
                    <a:pt x="8864" y="0"/>
                    <a:pt x="18995" y="0"/>
                  </a:cubicBez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 name="Freeform 174">
              <a:extLst>
                <a:ext uri="{FF2B5EF4-FFF2-40B4-BE49-F238E27FC236}">
                  <a16:creationId xmlns:a16="http://schemas.microsoft.com/office/drawing/2014/main" id="{CBEF9071-907F-CF40-B6F3-32FE01BF06E7}"/>
                </a:ext>
              </a:extLst>
            </p:cNvPr>
            <p:cNvSpPr/>
            <p:nvPr/>
          </p:nvSpPr>
          <p:spPr>
            <a:xfrm>
              <a:off x="4220483" y="3972280"/>
              <a:ext cx="100039" cy="112424"/>
            </a:xfrm>
            <a:custGeom>
              <a:avLst/>
              <a:gdLst>
                <a:gd name="connsiteX0" fmla="*/ 100039 w 100039"/>
                <a:gd name="connsiteY0" fmla="*/ 94739 h 112424"/>
                <a:gd name="connsiteX1" fmla="*/ 100039 w 100039"/>
                <a:gd name="connsiteY1" fmla="*/ 17685 h 112424"/>
                <a:gd name="connsiteX2" fmla="*/ 82311 w 100039"/>
                <a:gd name="connsiteY2" fmla="*/ 0 h 112424"/>
                <a:gd name="connsiteX3" fmla="*/ 17728 w 100039"/>
                <a:gd name="connsiteY3" fmla="*/ 0 h 112424"/>
                <a:gd name="connsiteX4" fmla="*/ 0 w 100039"/>
                <a:gd name="connsiteY4" fmla="*/ 17685 h 112424"/>
                <a:gd name="connsiteX5" fmla="*/ 0 w 100039"/>
                <a:gd name="connsiteY5" fmla="*/ 94739 h 112424"/>
                <a:gd name="connsiteX6" fmla="*/ 17728 w 100039"/>
                <a:gd name="connsiteY6" fmla="*/ 112424 h 112424"/>
                <a:gd name="connsiteX7" fmla="*/ 82311 w 100039"/>
                <a:gd name="connsiteY7" fmla="*/ 112424 h 112424"/>
                <a:gd name="connsiteX8" fmla="*/ 100039 w 100039"/>
                <a:gd name="connsiteY8" fmla="*/ 94739 h 1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9" h="112424">
                  <a:moveTo>
                    <a:pt x="100039" y="94739"/>
                  </a:moveTo>
                  <a:lnTo>
                    <a:pt x="100039" y="17685"/>
                  </a:lnTo>
                  <a:cubicBezTo>
                    <a:pt x="100039" y="7579"/>
                    <a:pt x="92441" y="0"/>
                    <a:pt x="82311" y="0"/>
                  </a:cubicBezTo>
                  <a:lnTo>
                    <a:pt x="17728" y="0"/>
                  </a:lnTo>
                  <a:cubicBezTo>
                    <a:pt x="7598" y="0"/>
                    <a:pt x="0" y="7579"/>
                    <a:pt x="0" y="17685"/>
                  </a:cubicBezTo>
                  <a:lnTo>
                    <a:pt x="0" y="94739"/>
                  </a:lnTo>
                  <a:cubicBezTo>
                    <a:pt x="0" y="104845"/>
                    <a:pt x="7598" y="112424"/>
                    <a:pt x="17728" y="112424"/>
                  </a:cubicBezTo>
                  <a:lnTo>
                    <a:pt x="82311" y="112424"/>
                  </a:lnTo>
                  <a:cubicBezTo>
                    <a:pt x="91175" y="112424"/>
                    <a:pt x="100039" y="104845"/>
                    <a:pt x="100039" y="9473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 name="Freeform 175">
              <a:extLst>
                <a:ext uri="{FF2B5EF4-FFF2-40B4-BE49-F238E27FC236}">
                  <a16:creationId xmlns:a16="http://schemas.microsoft.com/office/drawing/2014/main" id="{8268D3FA-9D0F-2F4D-AD67-B8FCF1F74407}"/>
                </a:ext>
              </a:extLst>
            </p:cNvPr>
            <p:cNvSpPr/>
            <p:nvPr/>
          </p:nvSpPr>
          <p:spPr>
            <a:xfrm>
              <a:off x="4043199" y="3972280"/>
              <a:ext cx="100039" cy="112424"/>
            </a:xfrm>
            <a:custGeom>
              <a:avLst/>
              <a:gdLst>
                <a:gd name="connsiteX0" fmla="*/ 100039 w 100039"/>
                <a:gd name="connsiteY0" fmla="*/ 94739 h 112424"/>
                <a:gd name="connsiteX1" fmla="*/ 100039 w 100039"/>
                <a:gd name="connsiteY1" fmla="*/ 17685 h 112424"/>
                <a:gd name="connsiteX2" fmla="*/ 82311 w 100039"/>
                <a:gd name="connsiteY2" fmla="*/ 0 h 112424"/>
                <a:gd name="connsiteX3" fmla="*/ 17728 w 100039"/>
                <a:gd name="connsiteY3" fmla="*/ 0 h 112424"/>
                <a:gd name="connsiteX4" fmla="*/ 0 w 100039"/>
                <a:gd name="connsiteY4" fmla="*/ 17685 h 112424"/>
                <a:gd name="connsiteX5" fmla="*/ 0 w 100039"/>
                <a:gd name="connsiteY5" fmla="*/ 94739 h 112424"/>
                <a:gd name="connsiteX6" fmla="*/ 17728 w 100039"/>
                <a:gd name="connsiteY6" fmla="*/ 112424 h 112424"/>
                <a:gd name="connsiteX7" fmla="*/ 82311 w 100039"/>
                <a:gd name="connsiteY7" fmla="*/ 112424 h 112424"/>
                <a:gd name="connsiteX8" fmla="*/ 100039 w 100039"/>
                <a:gd name="connsiteY8" fmla="*/ 94739 h 1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9" h="112424">
                  <a:moveTo>
                    <a:pt x="100039" y="94739"/>
                  </a:moveTo>
                  <a:lnTo>
                    <a:pt x="100039" y="17685"/>
                  </a:lnTo>
                  <a:cubicBezTo>
                    <a:pt x="100039" y="7579"/>
                    <a:pt x="92441" y="0"/>
                    <a:pt x="82311" y="0"/>
                  </a:cubicBezTo>
                  <a:lnTo>
                    <a:pt x="17728" y="0"/>
                  </a:lnTo>
                  <a:cubicBezTo>
                    <a:pt x="7598" y="0"/>
                    <a:pt x="0" y="7579"/>
                    <a:pt x="0" y="17685"/>
                  </a:cubicBezTo>
                  <a:lnTo>
                    <a:pt x="0" y="94739"/>
                  </a:lnTo>
                  <a:cubicBezTo>
                    <a:pt x="0" y="104845"/>
                    <a:pt x="7598" y="112424"/>
                    <a:pt x="17728" y="112424"/>
                  </a:cubicBezTo>
                  <a:lnTo>
                    <a:pt x="82311" y="112424"/>
                  </a:lnTo>
                  <a:cubicBezTo>
                    <a:pt x="91175" y="112424"/>
                    <a:pt x="100039" y="104845"/>
                    <a:pt x="100039" y="9473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 name="Freeform 176">
              <a:extLst>
                <a:ext uri="{FF2B5EF4-FFF2-40B4-BE49-F238E27FC236}">
                  <a16:creationId xmlns:a16="http://schemas.microsoft.com/office/drawing/2014/main" id="{21C43E32-2E4D-4540-96B1-FC5EE5F4B350}"/>
                </a:ext>
              </a:extLst>
            </p:cNvPr>
            <p:cNvSpPr/>
            <p:nvPr/>
          </p:nvSpPr>
          <p:spPr>
            <a:xfrm>
              <a:off x="3865914" y="3972280"/>
              <a:ext cx="100039" cy="112424"/>
            </a:xfrm>
            <a:custGeom>
              <a:avLst/>
              <a:gdLst>
                <a:gd name="connsiteX0" fmla="*/ 100039 w 100039"/>
                <a:gd name="connsiteY0" fmla="*/ 94739 h 112424"/>
                <a:gd name="connsiteX1" fmla="*/ 100039 w 100039"/>
                <a:gd name="connsiteY1" fmla="*/ 17685 h 112424"/>
                <a:gd name="connsiteX2" fmla="*/ 82311 w 100039"/>
                <a:gd name="connsiteY2" fmla="*/ 0 h 112424"/>
                <a:gd name="connsiteX3" fmla="*/ 17728 w 100039"/>
                <a:gd name="connsiteY3" fmla="*/ 0 h 112424"/>
                <a:gd name="connsiteX4" fmla="*/ 0 w 100039"/>
                <a:gd name="connsiteY4" fmla="*/ 17685 h 112424"/>
                <a:gd name="connsiteX5" fmla="*/ 0 w 100039"/>
                <a:gd name="connsiteY5" fmla="*/ 94739 h 112424"/>
                <a:gd name="connsiteX6" fmla="*/ 17728 w 100039"/>
                <a:gd name="connsiteY6" fmla="*/ 112424 h 112424"/>
                <a:gd name="connsiteX7" fmla="*/ 82311 w 100039"/>
                <a:gd name="connsiteY7" fmla="*/ 112424 h 112424"/>
                <a:gd name="connsiteX8" fmla="*/ 100039 w 100039"/>
                <a:gd name="connsiteY8" fmla="*/ 94739 h 1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9" h="112424">
                  <a:moveTo>
                    <a:pt x="100039" y="94739"/>
                  </a:moveTo>
                  <a:lnTo>
                    <a:pt x="100039" y="17685"/>
                  </a:lnTo>
                  <a:cubicBezTo>
                    <a:pt x="100039" y="7579"/>
                    <a:pt x="92441" y="0"/>
                    <a:pt x="82311" y="0"/>
                  </a:cubicBezTo>
                  <a:lnTo>
                    <a:pt x="17728" y="0"/>
                  </a:lnTo>
                  <a:cubicBezTo>
                    <a:pt x="7598" y="0"/>
                    <a:pt x="0" y="7579"/>
                    <a:pt x="0" y="17685"/>
                  </a:cubicBezTo>
                  <a:lnTo>
                    <a:pt x="0" y="94739"/>
                  </a:lnTo>
                  <a:cubicBezTo>
                    <a:pt x="0" y="104845"/>
                    <a:pt x="7598" y="112424"/>
                    <a:pt x="17728" y="112424"/>
                  </a:cubicBezTo>
                  <a:lnTo>
                    <a:pt x="82311" y="112424"/>
                  </a:lnTo>
                  <a:cubicBezTo>
                    <a:pt x="91175" y="112424"/>
                    <a:pt x="100039" y="104845"/>
                    <a:pt x="100039" y="9473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8" name="Freeform 177">
              <a:extLst>
                <a:ext uri="{FF2B5EF4-FFF2-40B4-BE49-F238E27FC236}">
                  <a16:creationId xmlns:a16="http://schemas.microsoft.com/office/drawing/2014/main" id="{82D539FF-898B-FE43-9AB4-A1891C8C1382}"/>
                </a:ext>
              </a:extLst>
            </p:cNvPr>
            <p:cNvSpPr/>
            <p:nvPr/>
          </p:nvSpPr>
          <p:spPr>
            <a:xfrm>
              <a:off x="3978616" y="4312079"/>
              <a:ext cx="227937" cy="37895"/>
            </a:xfrm>
            <a:custGeom>
              <a:avLst/>
              <a:gdLst>
                <a:gd name="connsiteX0" fmla="*/ 0 w 227937"/>
                <a:gd name="connsiteY0" fmla="*/ 37896 h 37895"/>
                <a:gd name="connsiteX1" fmla="*/ 0 w 227937"/>
                <a:gd name="connsiteY1" fmla="*/ 8842 h 37895"/>
                <a:gd name="connsiteX2" fmla="*/ 8864 w 227937"/>
                <a:gd name="connsiteY2" fmla="*/ 0 h 37895"/>
                <a:gd name="connsiteX3" fmla="*/ 219073 w 227937"/>
                <a:gd name="connsiteY3" fmla="*/ 0 h 37895"/>
                <a:gd name="connsiteX4" fmla="*/ 227937 w 227937"/>
                <a:gd name="connsiteY4" fmla="*/ 8842 h 37895"/>
                <a:gd name="connsiteX5" fmla="*/ 227937 w 227937"/>
                <a:gd name="connsiteY5" fmla="*/ 37896 h 37895"/>
                <a:gd name="connsiteX6" fmla="*/ 0 w 227937"/>
                <a:gd name="connsiteY6" fmla="*/ 37896 h 37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37" h="37895">
                  <a:moveTo>
                    <a:pt x="0" y="37896"/>
                  </a:moveTo>
                  <a:lnTo>
                    <a:pt x="0" y="8842"/>
                  </a:lnTo>
                  <a:cubicBezTo>
                    <a:pt x="0" y="3789"/>
                    <a:pt x="3799" y="0"/>
                    <a:pt x="8864" y="0"/>
                  </a:cubicBezTo>
                  <a:lnTo>
                    <a:pt x="219073" y="0"/>
                  </a:lnTo>
                  <a:cubicBezTo>
                    <a:pt x="224138" y="0"/>
                    <a:pt x="227937" y="3789"/>
                    <a:pt x="227937" y="8842"/>
                  </a:cubicBezTo>
                  <a:lnTo>
                    <a:pt x="227937" y="37896"/>
                  </a:lnTo>
                  <a:lnTo>
                    <a:pt x="0" y="37896"/>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9" name="Freeform 178">
              <a:extLst>
                <a:ext uri="{FF2B5EF4-FFF2-40B4-BE49-F238E27FC236}">
                  <a16:creationId xmlns:a16="http://schemas.microsoft.com/office/drawing/2014/main" id="{B07D0890-1979-2342-AAEC-55776131E758}"/>
                </a:ext>
              </a:extLst>
            </p:cNvPr>
            <p:cNvSpPr/>
            <p:nvPr/>
          </p:nvSpPr>
          <p:spPr>
            <a:xfrm>
              <a:off x="3864648" y="4149127"/>
              <a:ext cx="100039" cy="112424"/>
            </a:xfrm>
            <a:custGeom>
              <a:avLst/>
              <a:gdLst>
                <a:gd name="connsiteX0" fmla="*/ 0 w 100039"/>
                <a:gd name="connsiteY0" fmla="*/ 94739 h 112424"/>
                <a:gd name="connsiteX1" fmla="*/ 0 w 100039"/>
                <a:gd name="connsiteY1" fmla="*/ 17685 h 112424"/>
                <a:gd name="connsiteX2" fmla="*/ 17728 w 100039"/>
                <a:gd name="connsiteY2" fmla="*/ 0 h 112424"/>
                <a:gd name="connsiteX3" fmla="*/ 82311 w 100039"/>
                <a:gd name="connsiteY3" fmla="*/ 0 h 112424"/>
                <a:gd name="connsiteX4" fmla="*/ 100039 w 100039"/>
                <a:gd name="connsiteY4" fmla="*/ 17685 h 112424"/>
                <a:gd name="connsiteX5" fmla="*/ 100039 w 100039"/>
                <a:gd name="connsiteY5" fmla="*/ 94739 h 112424"/>
                <a:gd name="connsiteX6" fmla="*/ 82311 w 100039"/>
                <a:gd name="connsiteY6" fmla="*/ 112424 h 112424"/>
                <a:gd name="connsiteX7" fmla="*/ 17728 w 100039"/>
                <a:gd name="connsiteY7" fmla="*/ 112424 h 112424"/>
                <a:gd name="connsiteX8" fmla="*/ 0 w 100039"/>
                <a:gd name="connsiteY8" fmla="*/ 94739 h 1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9" h="112424">
                  <a:moveTo>
                    <a:pt x="0" y="94739"/>
                  </a:moveTo>
                  <a:lnTo>
                    <a:pt x="0" y="17685"/>
                  </a:lnTo>
                  <a:cubicBezTo>
                    <a:pt x="0" y="7579"/>
                    <a:pt x="7598" y="0"/>
                    <a:pt x="17728" y="0"/>
                  </a:cubicBezTo>
                  <a:lnTo>
                    <a:pt x="82311" y="0"/>
                  </a:lnTo>
                  <a:cubicBezTo>
                    <a:pt x="92441" y="0"/>
                    <a:pt x="100039" y="7579"/>
                    <a:pt x="100039" y="17685"/>
                  </a:cubicBezTo>
                  <a:lnTo>
                    <a:pt x="100039" y="94739"/>
                  </a:lnTo>
                  <a:cubicBezTo>
                    <a:pt x="100039" y="104845"/>
                    <a:pt x="92441" y="112424"/>
                    <a:pt x="82311" y="112424"/>
                  </a:cubicBezTo>
                  <a:lnTo>
                    <a:pt x="17728" y="112424"/>
                  </a:lnTo>
                  <a:cubicBezTo>
                    <a:pt x="7598" y="112424"/>
                    <a:pt x="0" y="104845"/>
                    <a:pt x="0" y="9473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0" name="Freeform 179">
              <a:extLst>
                <a:ext uri="{FF2B5EF4-FFF2-40B4-BE49-F238E27FC236}">
                  <a16:creationId xmlns:a16="http://schemas.microsoft.com/office/drawing/2014/main" id="{BE4045C9-250A-1B4D-863B-D33AF17001D0}"/>
                </a:ext>
              </a:extLst>
            </p:cNvPr>
            <p:cNvSpPr/>
            <p:nvPr/>
          </p:nvSpPr>
          <p:spPr>
            <a:xfrm>
              <a:off x="4220483" y="4149127"/>
              <a:ext cx="100039" cy="112424"/>
            </a:xfrm>
            <a:custGeom>
              <a:avLst/>
              <a:gdLst>
                <a:gd name="connsiteX0" fmla="*/ 100039 w 100039"/>
                <a:gd name="connsiteY0" fmla="*/ 94739 h 112424"/>
                <a:gd name="connsiteX1" fmla="*/ 100039 w 100039"/>
                <a:gd name="connsiteY1" fmla="*/ 17685 h 112424"/>
                <a:gd name="connsiteX2" fmla="*/ 82311 w 100039"/>
                <a:gd name="connsiteY2" fmla="*/ 0 h 112424"/>
                <a:gd name="connsiteX3" fmla="*/ 17728 w 100039"/>
                <a:gd name="connsiteY3" fmla="*/ 0 h 112424"/>
                <a:gd name="connsiteX4" fmla="*/ 0 w 100039"/>
                <a:gd name="connsiteY4" fmla="*/ 17685 h 112424"/>
                <a:gd name="connsiteX5" fmla="*/ 0 w 100039"/>
                <a:gd name="connsiteY5" fmla="*/ 94739 h 112424"/>
                <a:gd name="connsiteX6" fmla="*/ 17728 w 100039"/>
                <a:gd name="connsiteY6" fmla="*/ 112424 h 112424"/>
                <a:gd name="connsiteX7" fmla="*/ 82311 w 100039"/>
                <a:gd name="connsiteY7" fmla="*/ 112424 h 112424"/>
                <a:gd name="connsiteX8" fmla="*/ 100039 w 100039"/>
                <a:gd name="connsiteY8" fmla="*/ 94739 h 1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39" h="112424">
                  <a:moveTo>
                    <a:pt x="100039" y="94739"/>
                  </a:moveTo>
                  <a:lnTo>
                    <a:pt x="100039" y="17685"/>
                  </a:lnTo>
                  <a:cubicBezTo>
                    <a:pt x="100039" y="7579"/>
                    <a:pt x="92441" y="0"/>
                    <a:pt x="82311" y="0"/>
                  </a:cubicBezTo>
                  <a:lnTo>
                    <a:pt x="17728" y="0"/>
                  </a:lnTo>
                  <a:cubicBezTo>
                    <a:pt x="7598" y="0"/>
                    <a:pt x="0" y="7579"/>
                    <a:pt x="0" y="17685"/>
                  </a:cubicBezTo>
                  <a:lnTo>
                    <a:pt x="0" y="94739"/>
                  </a:lnTo>
                  <a:cubicBezTo>
                    <a:pt x="0" y="104845"/>
                    <a:pt x="7598" y="112424"/>
                    <a:pt x="17728" y="112424"/>
                  </a:cubicBezTo>
                  <a:lnTo>
                    <a:pt x="82311" y="112424"/>
                  </a:lnTo>
                  <a:cubicBezTo>
                    <a:pt x="91175" y="112424"/>
                    <a:pt x="100039" y="104845"/>
                    <a:pt x="100039" y="9473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1" name="Freeform 180">
              <a:extLst>
                <a:ext uri="{FF2B5EF4-FFF2-40B4-BE49-F238E27FC236}">
                  <a16:creationId xmlns:a16="http://schemas.microsoft.com/office/drawing/2014/main" id="{F661F9B2-820B-1045-A60D-11E3EA2A5B9E}"/>
                </a:ext>
              </a:extLst>
            </p:cNvPr>
            <p:cNvSpPr/>
            <p:nvPr/>
          </p:nvSpPr>
          <p:spPr>
            <a:xfrm>
              <a:off x="4043199" y="4147864"/>
              <a:ext cx="100039" cy="164214"/>
            </a:xfrm>
            <a:custGeom>
              <a:avLst/>
              <a:gdLst>
                <a:gd name="connsiteX0" fmla="*/ 100039 w 100039"/>
                <a:gd name="connsiteY0" fmla="*/ 164215 h 164214"/>
                <a:gd name="connsiteX1" fmla="*/ 100039 w 100039"/>
                <a:gd name="connsiteY1" fmla="*/ 17685 h 164214"/>
                <a:gd name="connsiteX2" fmla="*/ 82311 w 100039"/>
                <a:gd name="connsiteY2" fmla="*/ 0 h 164214"/>
                <a:gd name="connsiteX3" fmla="*/ 17728 w 100039"/>
                <a:gd name="connsiteY3" fmla="*/ 0 h 164214"/>
                <a:gd name="connsiteX4" fmla="*/ 0 w 100039"/>
                <a:gd name="connsiteY4" fmla="*/ 17685 h 164214"/>
                <a:gd name="connsiteX5" fmla="*/ 0 w 100039"/>
                <a:gd name="connsiteY5" fmla="*/ 164215 h 164214"/>
                <a:gd name="connsiteX6" fmla="*/ 100039 w 100039"/>
                <a:gd name="connsiteY6" fmla="*/ 164215 h 16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39" h="164214">
                  <a:moveTo>
                    <a:pt x="100039" y="164215"/>
                  </a:moveTo>
                  <a:lnTo>
                    <a:pt x="100039" y="17685"/>
                  </a:lnTo>
                  <a:cubicBezTo>
                    <a:pt x="100039" y="7579"/>
                    <a:pt x="92441" y="0"/>
                    <a:pt x="82311" y="0"/>
                  </a:cubicBezTo>
                  <a:lnTo>
                    <a:pt x="17728" y="0"/>
                  </a:lnTo>
                  <a:cubicBezTo>
                    <a:pt x="7598" y="0"/>
                    <a:pt x="0" y="7579"/>
                    <a:pt x="0" y="17685"/>
                  </a:cubicBezTo>
                  <a:lnTo>
                    <a:pt x="0" y="164215"/>
                  </a:lnTo>
                  <a:lnTo>
                    <a:pt x="100039" y="164215"/>
                  </a:ln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2" name="Freeform 181">
              <a:extLst>
                <a:ext uri="{FF2B5EF4-FFF2-40B4-BE49-F238E27FC236}">
                  <a16:creationId xmlns:a16="http://schemas.microsoft.com/office/drawing/2014/main" id="{1C350E4A-2D69-F04A-AA49-C03F7878E91C}"/>
                </a:ext>
              </a:extLst>
            </p:cNvPr>
            <p:cNvSpPr/>
            <p:nvPr/>
          </p:nvSpPr>
          <p:spPr>
            <a:xfrm>
              <a:off x="3915301" y="3781539"/>
              <a:ext cx="37989" cy="63159"/>
            </a:xfrm>
            <a:custGeom>
              <a:avLst/>
              <a:gdLst>
                <a:gd name="connsiteX0" fmla="*/ 18995 w 37989"/>
                <a:gd name="connsiteY0" fmla="*/ 63160 h 63159"/>
                <a:gd name="connsiteX1" fmla="*/ 0 w 37989"/>
                <a:gd name="connsiteY1" fmla="*/ 63160 h 63159"/>
                <a:gd name="connsiteX2" fmla="*/ 0 w 37989"/>
                <a:gd name="connsiteY2" fmla="*/ 8842 h 63159"/>
                <a:gd name="connsiteX3" fmla="*/ 8864 w 37989"/>
                <a:gd name="connsiteY3" fmla="*/ 0 h 63159"/>
                <a:gd name="connsiteX4" fmla="*/ 29125 w 37989"/>
                <a:gd name="connsiteY4" fmla="*/ 0 h 63159"/>
                <a:gd name="connsiteX5" fmla="*/ 37990 w 37989"/>
                <a:gd name="connsiteY5" fmla="*/ 8842 h 63159"/>
                <a:gd name="connsiteX6" fmla="*/ 37990 w 37989"/>
                <a:gd name="connsiteY6" fmla="*/ 63160 h 63159"/>
                <a:gd name="connsiteX7" fmla="*/ 18995 w 37989"/>
                <a:gd name="connsiteY7" fmla="*/ 63160 h 6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89" h="63159">
                  <a:moveTo>
                    <a:pt x="18995" y="63160"/>
                  </a:moveTo>
                  <a:lnTo>
                    <a:pt x="0" y="63160"/>
                  </a:lnTo>
                  <a:lnTo>
                    <a:pt x="0" y="8842"/>
                  </a:lnTo>
                  <a:cubicBezTo>
                    <a:pt x="0" y="3789"/>
                    <a:pt x="3799" y="0"/>
                    <a:pt x="8864" y="0"/>
                  </a:cubicBezTo>
                  <a:lnTo>
                    <a:pt x="29125" y="0"/>
                  </a:lnTo>
                  <a:cubicBezTo>
                    <a:pt x="34190" y="0"/>
                    <a:pt x="37990" y="3789"/>
                    <a:pt x="37990" y="8842"/>
                  </a:cubicBezTo>
                  <a:lnTo>
                    <a:pt x="37990" y="63160"/>
                  </a:lnTo>
                  <a:lnTo>
                    <a:pt x="18995" y="63160"/>
                  </a:lnTo>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3" name="Freeform 182">
              <a:extLst>
                <a:ext uri="{FF2B5EF4-FFF2-40B4-BE49-F238E27FC236}">
                  <a16:creationId xmlns:a16="http://schemas.microsoft.com/office/drawing/2014/main" id="{708E777D-F80F-454A-BC58-2D21873F8C48}"/>
                </a:ext>
              </a:extLst>
            </p:cNvPr>
            <p:cNvSpPr/>
            <p:nvPr/>
          </p:nvSpPr>
          <p:spPr>
            <a:xfrm>
              <a:off x="3788669" y="3844698"/>
              <a:ext cx="607833" cy="50527"/>
            </a:xfrm>
            <a:custGeom>
              <a:avLst/>
              <a:gdLst>
                <a:gd name="connsiteX0" fmla="*/ 607833 w 607833"/>
                <a:gd name="connsiteY0" fmla="*/ 50528 h 50527"/>
                <a:gd name="connsiteX1" fmla="*/ 0 w 607833"/>
                <a:gd name="connsiteY1" fmla="*/ 50528 h 50527"/>
                <a:gd name="connsiteX2" fmla="*/ 0 w 607833"/>
                <a:gd name="connsiteY2" fmla="*/ 17685 h 50527"/>
                <a:gd name="connsiteX3" fmla="*/ 17728 w 607833"/>
                <a:gd name="connsiteY3" fmla="*/ 0 h 50527"/>
                <a:gd name="connsiteX4" fmla="*/ 588838 w 607833"/>
                <a:gd name="connsiteY4" fmla="*/ 0 h 50527"/>
                <a:gd name="connsiteX5" fmla="*/ 606567 w 607833"/>
                <a:gd name="connsiteY5" fmla="*/ 17685 h 50527"/>
                <a:gd name="connsiteX6" fmla="*/ 606567 w 607833"/>
                <a:gd name="connsiteY6" fmla="*/ 50528 h 5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7833" h="50527">
                  <a:moveTo>
                    <a:pt x="607833" y="50528"/>
                  </a:moveTo>
                  <a:lnTo>
                    <a:pt x="0" y="50528"/>
                  </a:lnTo>
                  <a:lnTo>
                    <a:pt x="0" y="17685"/>
                  </a:lnTo>
                  <a:cubicBezTo>
                    <a:pt x="0" y="7579"/>
                    <a:pt x="7598" y="0"/>
                    <a:pt x="17728" y="0"/>
                  </a:cubicBezTo>
                  <a:lnTo>
                    <a:pt x="588838" y="0"/>
                  </a:lnTo>
                  <a:cubicBezTo>
                    <a:pt x="598969" y="0"/>
                    <a:pt x="606567" y="7579"/>
                    <a:pt x="606567" y="17685"/>
                  </a:cubicBezTo>
                  <a:lnTo>
                    <a:pt x="606567" y="50528"/>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29" name="Group 128">
            <a:extLst>
              <a:ext uri="{FF2B5EF4-FFF2-40B4-BE49-F238E27FC236}">
                <a16:creationId xmlns:a16="http://schemas.microsoft.com/office/drawing/2014/main" id="{1CC18C99-F87E-144A-80C5-EB4897A95C4D}"/>
              </a:ext>
            </a:extLst>
          </p:cNvPr>
          <p:cNvGrpSpPr/>
          <p:nvPr/>
        </p:nvGrpSpPr>
        <p:grpSpPr>
          <a:xfrm>
            <a:off x="6433706" y="3612088"/>
            <a:ext cx="784907" cy="714137"/>
            <a:chOff x="5347507" y="3487465"/>
            <a:chExt cx="921880" cy="838760"/>
          </a:xfrm>
        </p:grpSpPr>
        <p:sp>
          <p:nvSpPr>
            <p:cNvPr id="153" name="Freeform 152">
              <a:extLst>
                <a:ext uri="{FF2B5EF4-FFF2-40B4-BE49-F238E27FC236}">
                  <a16:creationId xmlns:a16="http://schemas.microsoft.com/office/drawing/2014/main" id="{CE6C758C-1267-924F-BCE1-1E2AED51DD74}"/>
                </a:ext>
              </a:extLst>
            </p:cNvPr>
            <p:cNvSpPr/>
            <p:nvPr/>
          </p:nvSpPr>
          <p:spPr>
            <a:xfrm>
              <a:off x="5575445" y="3564520"/>
              <a:ext cx="466005" cy="761705"/>
            </a:xfrm>
            <a:custGeom>
              <a:avLst/>
              <a:gdLst>
                <a:gd name="connsiteX0" fmla="*/ 466005 w 466005"/>
                <a:gd name="connsiteY0" fmla="*/ 761705 h 761705"/>
                <a:gd name="connsiteX1" fmla="*/ 0 w 466005"/>
                <a:gd name="connsiteY1" fmla="*/ 761705 h 761705"/>
                <a:gd name="connsiteX2" fmla="*/ 0 w 466005"/>
                <a:gd name="connsiteY2" fmla="*/ 17685 h 761705"/>
                <a:gd name="connsiteX3" fmla="*/ 17728 w 466005"/>
                <a:gd name="connsiteY3" fmla="*/ 0 h 761705"/>
                <a:gd name="connsiteX4" fmla="*/ 447010 w 466005"/>
                <a:gd name="connsiteY4" fmla="*/ 0 h 761705"/>
                <a:gd name="connsiteX5" fmla="*/ 464739 w 466005"/>
                <a:gd name="connsiteY5" fmla="*/ 17685 h 761705"/>
                <a:gd name="connsiteX6" fmla="*/ 464739 w 466005"/>
                <a:gd name="connsiteY6" fmla="*/ 761705 h 76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005" h="761705">
                  <a:moveTo>
                    <a:pt x="466005" y="761705"/>
                  </a:moveTo>
                  <a:lnTo>
                    <a:pt x="0" y="761705"/>
                  </a:lnTo>
                  <a:lnTo>
                    <a:pt x="0" y="17685"/>
                  </a:lnTo>
                  <a:cubicBezTo>
                    <a:pt x="0" y="7579"/>
                    <a:pt x="7598" y="0"/>
                    <a:pt x="17728" y="0"/>
                  </a:cubicBezTo>
                  <a:lnTo>
                    <a:pt x="447010" y="0"/>
                  </a:lnTo>
                  <a:cubicBezTo>
                    <a:pt x="457141" y="0"/>
                    <a:pt x="464739" y="7579"/>
                    <a:pt x="464739" y="17685"/>
                  </a:cubicBezTo>
                  <a:lnTo>
                    <a:pt x="464739" y="761705"/>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4" name="Freeform 153">
              <a:extLst>
                <a:ext uri="{FF2B5EF4-FFF2-40B4-BE49-F238E27FC236}">
                  <a16:creationId xmlns:a16="http://schemas.microsoft.com/office/drawing/2014/main" id="{BACFEE5E-526D-904F-9DA9-836AAD864F88}"/>
                </a:ext>
              </a:extLst>
            </p:cNvPr>
            <p:cNvSpPr/>
            <p:nvPr/>
          </p:nvSpPr>
          <p:spPr>
            <a:xfrm>
              <a:off x="5651424" y="4106429"/>
              <a:ext cx="316579" cy="219795"/>
            </a:xfrm>
            <a:custGeom>
              <a:avLst/>
              <a:gdLst>
                <a:gd name="connsiteX0" fmla="*/ 316580 w 316579"/>
                <a:gd name="connsiteY0" fmla="*/ 219796 h 219795"/>
                <a:gd name="connsiteX1" fmla="*/ 0 w 316579"/>
                <a:gd name="connsiteY1" fmla="*/ 219796 h 219795"/>
                <a:gd name="connsiteX2" fmla="*/ 0 w 316579"/>
                <a:gd name="connsiteY2" fmla="*/ 8842 h 219795"/>
                <a:gd name="connsiteX3" fmla="*/ 8864 w 316579"/>
                <a:gd name="connsiteY3" fmla="*/ 0 h 219795"/>
                <a:gd name="connsiteX4" fmla="*/ 307715 w 316579"/>
                <a:gd name="connsiteY4" fmla="*/ 0 h 219795"/>
                <a:gd name="connsiteX5" fmla="*/ 316580 w 316579"/>
                <a:gd name="connsiteY5" fmla="*/ 8842 h 219795"/>
                <a:gd name="connsiteX6" fmla="*/ 316580 w 316579"/>
                <a:gd name="connsiteY6" fmla="*/ 219796 h 21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79" h="219795">
                  <a:moveTo>
                    <a:pt x="316580" y="219796"/>
                  </a:moveTo>
                  <a:lnTo>
                    <a:pt x="0" y="219796"/>
                  </a:lnTo>
                  <a:lnTo>
                    <a:pt x="0" y="8842"/>
                  </a:lnTo>
                  <a:cubicBezTo>
                    <a:pt x="0" y="3790"/>
                    <a:pt x="3799" y="0"/>
                    <a:pt x="8864" y="0"/>
                  </a:cubicBezTo>
                  <a:lnTo>
                    <a:pt x="307715" y="0"/>
                  </a:lnTo>
                  <a:cubicBezTo>
                    <a:pt x="312781" y="0"/>
                    <a:pt x="316580" y="3790"/>
                    <a:pt x="316580" y="8842"/>
                  </a:cubicBezTo>
                  <a:lnTo>
                    <a:pt x="316580" y="219796"/>
                  </a:ln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 name="Freeform 154">
              <a:extLst>
                <a:ext uri="{FF2B5EF4-FFF2-40B4-BE49-F238E27FC236}">
                  <a16:creationId xmlns:a16="http://schemas.microsoft.com/office/drawing/2014/main" id="{958E85BA-5608-624F-81F9-C8DC1D7DFD8C}"/>
                </a:ext>
              </a:extLst>
            </p:cNvPr>
            <p:cNvSpPr/>
            <p:nvPr/>
          </p:nvSpPr>
          <p:spPr>
            <a:xfrm>
              <a:off x="5347507" y="3687050"/>
              <a:ext cx="215274" cy="639175"/>
            </a:xfrm>
            <a:custGeom>
              <a:avLst/>
              <a:gdLst>
                <a:gd name="connsiteX0" fmla="*/ 215274 w 215274"/>
                <a:gd name="connsiteY0" fmla="*/ 639175 h 639175"/>
                <a:gd name="connsiteX1" fmla="*/ 0 w 215274"/>
                <a:gd name="connsiteY1" fmla="*/ 639175 h 639175"/>
                <a:gd name="connsiteX2" fmla="*/ 0 w 215274"/>
                <a:gd name="connsiteY2" fmla="*/ 17685 h 639175"/>
                <a:gd name="connsiteX3" fmla="*/ 17728 w 215274"/>
                <a:gd name="connsiteY3" fmla="*/ 0 h 639175"/>
                <a:gd name="connsiteX4" fmla="*/ 215274 w 215274"/>
                <a:gd name="connsiteY4" fmla="*/ 0 h 639175"/>
                <a:gd name="connsiteX5" fmla="*/ 215274 w 215274"/>
                <a:gd name="connsiteY5" fmla="*/ 639175 h 63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274" h="639175">
                  <a:moveTo>
                    <a:pt x="215274" y="639175"/>
                  </a:moveTo>
                  <a:lnTo>
                    <a:pt x="0" y="639175"/>
                  </a:lnTo>
                  <a:lnTo>
                    <a:pt x="0" y="17685"/>
                  </a:lnTo>
                  <a:cubicBezTo>
                    <a:pt x="0" y="7579"/>
                    <a:pt x="7598" y="0"/>
                    <a:pt x="17728" y="0"/>
                  </a:cubicBezTo>
                  <a:lnTo>
                    <a:pt x="215274" y="0"/>
                  </a:lnTo>
                  <a:lnTo>
                    <a:pt x="215274" y="639175"/>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 name="Freeform 155">
              <a:extLst>
                <a:ext uri="{FF2B5EF4-FFF2-40B4-BE49-F238E27FC236}">
                  <a16:creationId xmlns:a16="http://schemas.microsoft.com/office/drawing/2014/main" id="{643B271A-8D67-E24B-A945-7929391067FB}"/>
                </a:ext>
              </a:extLst>
            </p:cNvPr>
            <p:cNvSpPr/>
            <p:nvPr/>
          </p:nvSpPr>
          <p:spPr>
            <a:xfrm>
              <a:off x="5652690" y="3676944"/>
              <a:ext cx="125365" cy="75791"/>
            </a:xfrm>
            <a:custGeom>
              <a:avLst/>
              <a:gdLst>
                <a:gd name="connsiteX0" fmla="*/ 125366 w 125365"/>
                <a:gd name="connsiteY0" fmla="*/ 66949 h 75791"/>
                <a:gd name="connsiteX1" fmla="*/ 125366 w 125365"/>
                <a:gd name="connsiteY1" fmla="*/ 8842 h 75791"/>
                <a:gd name="connsiteX2" fmla="*/ 116501 w 125365"/>
                <a:gd name="connsiteY2" fmla="*/ 0 h 75791"/>
                <a:gd name="connsiteX3" fmla="*/ 8864 w 125365"/>
                <a:gd name="connsiteY3" fmla="*/ 0 h 75791"/>
                <a:gd name="connsiteX4" fmla="*/ 0 w 125365"/>
                <a:gd name="connsiteY4" fmla="*/ 8842 h 75791"/>
                <a:gd name="connsiteX5" fmla="*/ 0 w 125365"/>
                <a:gd name="connsiteY5" fmla="*/ 66949 h 75791"/>
                <a:gd name="connsiteX6" fmla="*/ 8864 w 125365"/>
                <a:gd name="connsiteY6" fmla="*/ 75792 h 75791"/>
                <a:gd name="connsiteX7" fmla="*/ 116501 w 125365"/>
                <a:gd name="connsiteY7" fmla="*/ 75792 h 75791"/>
                <a:gd name="connsiteX8" fmla="*/ 125366 w 125365"/>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5791">
                  <a:moveTo>
                    <a:pt x="125366" y="66949"/>
                  </a:moveTo>
                  <a:lnTo>
                    <a:pt x="125366" y="8842"/>
                  </a:lnTo>
                  <a:cubicBezTo>
                    <a:pt x="125366" y="3790"/>
                    <a:pt x="121567" y="0"/>
                    <a:pt x="116501" y="0"/>
                  </a:cubicBezTo>
                  <a:lnTo>
                    <a:pt x="8864" y="0"/>
                  </a:lnTo>
                  <a:cubicBezTo>
                    <a:pt x="3799" y="0"/>
                    <a:pt x="0" y="3790"/>
                    <a:pt x="0" y="8842"/>
                  </a:cubicBezTo>
                  <a:lnTo>
                    <a:pt x="0" y="66949"/>
                  </a:lnTo>
                  <a:cubicBezTo>
                    <a:pt x="0" y="72002"/>
                    <a:pt x="3799" y="75792"/>
                    <a:pt x="8864" y="75792"/>
                  </a:cubicBezTo>
                  <a:lnTo>
                    <a:pt x="116501" y="75792"/>
                  </a:lnTo>
                  <a:cubicBezTo>
                    <a:pt x="121567" y="75792"/>
                    <a:pt x="125366" y="72002"/>
                    <a:pt x="12536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 name="Freeform 156">
              <a:extLst>
                <a:ext uri="{FF2B5EF4-FFF2-40B4-BE49-F238E27FC236}">
                  <a16:creationId xmlns:a16="http://schemas.microsoft.com/office/drawing/2014/main" id="{EAEE5427-0489-F94B-AAAA-5C07E7C07A0E}"/>
                </a:ext>
              </a:extLst>
            </p:cNvPr>
            <p:cNvSpPr/>
            <p:nvPr/>
          </p:nvSpPr>
          <p:spPr>
            <a:xfrm>
              <a:off x="5842638" y="3676944"/>
              <a:ext cx="125365" cy="75791"/>
            </a:xfrm>
            <a:custGeom>
              <a:avLst/>
              <a:gdLst>
                <a:gd name="connsiteX0" fmla="*/ 125366 w 125365"/>
                <a:gd name="connsiteY0" fmla="*/ 66949 h 75791"/>
                <a:gd name="connsiteX1" fmla="*/ 125366 w 125365"/>
                <a:gd name="connsiteY1" fmla="*/ 8842 h 75791"/>
                <a:gd name="connsiteX2" fmla="*/ 116501 w 125365"/>
                <a:gd name="connsiteY2" fmla="*/ 0 h 75791"/>
                <a:gd name="connsiteX3" fmla="*/ 8864 w 125365"/>
                <a:gd name="connsiteY3" fmla="*/ 0 h 75791"/>
                <a:gd name="connsiteX4" fmla="*/ 0 w 125365"/>
                <a:gd name="connsiteY4" fmla="*/ 8842 h 75791"/>
                <a:gd name="connsiteX5" fmla="*/ 0 w 125365"/>
                <a:gd name="connsiteY5" fmla="*/ 66949 h 75791"/>
                <a:gd name="connsiteX6" fmla="*/ 8864 w 125365"/>
                <a:gd name="connsiteY6" fmla="*/ 75792 h 75791"/>
                <a:gd name="connsiteX7" fmla="*/ 116501 w 125365"/>
                <a:gd name="connsiteY7" fmla="*/ 75792 h 75791"/>
                <a:gd name="connsiteX8" fmla="*/ 125366 w 125365"/>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5791">
                  <a:moveTo>
                    <a:pt x="125366" y="66949"/>
                  </a:moveTo>
                  <a:lnTo>
                    <a:pt x="125366" y="8842"/>
                  </a:lnTo>
                  <a:cubicBezTo>
                    <a:pt x="125366" y="3790"/>
                    <a:pt x="121567" y="0"/>
                    <a:pt x="116501" y="0"/>
                  </a:cubicBezTo>
                  <a:lnTo>
                    <a:pt x="8864" y="0"/>
                  </a:lnTo>
                  <a:cubicBezTo>
                    <a:pt x="3799" y="0"/>
                    <a:pt x="0" y="3790"/>
                    <a:pt x="0" y="8842"/>
                  </a:cubicBezTo>
                  <a:lnTo>
                    <a:pt x="0" y="66949"/>
                  </a:lnTo>
                  <a:cubicBezTo>
                    <a:pt x="0" y="72002"/>
                    <a:pt x="3799" y="75792"/>
                    <a:pt x="8864" y="75792"/>
                  </a:cubicBezTo>
                  <a:lnTo>
                    <a:pt x="116501" y="75792"/>
                  </a:lnTo>
                  <a:cubicBezTo>
                    <a:pt x="121567" y="75792"/>
                    <a:pt x="125366" y="72002"/>
                    <a:pt x="12536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 name="Freeform 157">
              <a:extLst>
                <a:ext uri="{FF2B5EF4-FFF2-40B4-BE49-F238E27FC236}">
                  <a16:creationId xmlns:a16="http://schemas.microsoft.com/office/drawing/2014/main" id="{7AFB89B3-511F-7341-A61F-89EA238A187F}"/>
                </a:ext>
              </a:extLst>
            </p:cNvPr>
            <p:cNvSpPr/>
            <p:nvPr/>
          </p:nvSpPr>
          <p:spPr>
            <a:xfrm>
              <a:off x="5652690" y="3822211"/>
              <a:ext cx="125365" cy="77054"/>
            </a:xfrm>
            <a:custGeom>
              <a:avLst/>
              <a:gdLst>
                <a:gd name="connsiteX0" fmla="*/ 125366 w 125365"/>
                <a:gd name="connsiteY0" fmla="*/ 65686 h 77054"/>
                <a:gd name="connsiteX1" fmla="*/ 125366 w 125365"/>
                <a:gd name="connsiteY1" fmla="*/ 11369 h 77054"/>
                <a:gd name="connsiteX2" fmla="*/ 116501 w 125365"/>
                <a:gd name="connsiteY2" fmla="*/ 0 h 77054"/>
                <a:gd name="connsiteX3" fmla="*/ 8864 w 125365"/>
                <a:gd name="connsiteY3" fmla="*/ 0 h 77054"/>
                <a:gd name="connsiteX4" fmla="*/ 0 w 125365"/>
                <a:gd name="connsiteY4" fmla="*/ 11369 h 77054"/>
                <a:gd name="connsiteX5" fmla="*/ 0 w 125365"/>
                <a:gd name="connsiteY5" fmla="*/ 65686 h 77054"/>
                <a:gd name="connsiteX6" fmla="*/ 8864 w 125365"/>
                <a:gd name="connsiteY6" fmla="*/ 77055 h 77054"/>
                <a:gd name="connsiteX7" fmla="*/ 116501 w 125365"/>
                <a:gd name="connsiteY7" fmla="*/ 77055 h 77054"/>
                <a:gd name="connsiteX8" fmla="*/ 125366 w 125365"/>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7054">
                  <a:moveTo>
                    <a:pt x="125366" y="65686"/>
                  </a:moveTo>
                  <a:lnTo>
                    <a:pt x="125366" y="11369"/>
                  </a:lnTo>
                  <a:cubicBezTo>
                    <a:pt x="125366" y="5053"/>
                    <a:pt x="121567" y="0"/>
                    <a:pt x="116501" y="0"/>
                  </a:cubicBezTo>
                  <a:lnTo>
                    <a:pt x="8864" y="0"/>
                  </a:lnTo>
                  <a:cubicBezTo>
                    <a:pt x="3799" y="0"/>
                    <a:pt x="0" y="5053"/>
                    <a:pt x="0" y="11369"/>
                  </a:cubicBezTo>
                  <a:lnTo>
                    <a:pt x="0" y="65686"/>
                  </a:lnTo>
                  <a:cubicBezTo>
                    <a:pt x="0" y="72002"/>
                    <a:pt x="3799" y="77055"/>
                    <a:pt x="8864" y="77055"/>
                  </a:cubicBezTo>
                  <a:lnTo>
                    <a:pt x="116501" y="77055"/>
                  </a:lnTo>
                  <a:cubicBezTo>
                    <a:pt x="121567" y="75792"/>
                    <a:pt x="125366" y="70739"/>
                    <a:pt x="125366"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9" name="Freeform 158">
              <a:extLst>
                <a:ext uri="{FF2B5EF4-FFF2-40B4-BE49-F238E27FC236}">
                  <a16:creationId xmlns:a16="http://schemas.microsoft.com/office/drawing/2014/main" id="{0D727053-D27F-354E-B52C-DD2E342D32A7}"/>
                </a:ext>
              </a:extLst>
            </p:cNvPr>
            <p:cNvSpPr/>
            <p:nvPr/>
          </p:nvSpPr>
          <p:spPr>
            <a:xfrm>
              <a:off x="5652690" y="3967478"/>
              <a:ext cx="125365" cy="75791"/>
            </a:xfrm>
            <a:custGeom>
              <a:avLst/>
              <a:gdLst>
                <a:gd name="connsiteX0" fmla="*/ 125366 w 125365"/>
                <a:gd name="connsiteY0" fmla="*/ 66949 h 75791"/>
                <a:gd name="connsiteX1" fmla="*/ 125366 w 125365"/>
                <a:gd name="connsiteY1" fmla="*/ 8842 h 75791"/>
                <a:gd name="connsiteX2" fmla="*/ 116501 w 125365"/>
                <a:gd name="connsiteY2" fmla="*/ 0 h 75791"/>
                <a:gd name="connsiteX3" fmla="*/ 8864 w 125365"/>
                <a:gd name="connsiteY3" fmla="*/ 0 h 75791"/>
                <a:gd name="connsiteX4" fmla="*/ 0 w 125365"/>
                <a:gd name="connsiteY4" fmla="*/ 8842 h 75791"/>
                <a:gd name="connsiteX5" fmla="*/ 0 w 125365"/>
                <a:gd name="connsiteY5" fmla="*/ 66949 h 75791"/>
                <a:gd name="connsiteX6" fmla="*/ 8864 w 125365"/>
                <a:gd name="connsiteY6" fmla="*/ 75792 h 75791"/>
                <a:gd name="connsiteX7" fmla="*/ 116501 w 125365"/>
                <a:gd name="connsiteY7" fmla="*/ 75792 h 75791"/>
                <a:gd name="connsiteX8" fmla="*/ 125366 w 125365"/>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5791">
                  <a:moveTo>
                    <a:pt x="125366" y="66949"/>
                  </a:moveTo>
                  <a:lnTo>
                    <a:pt x="125366" y="8842"/>
                  </a:lnTo>
                  <a:cubicBezTo>
                    <a:pt x="125366" y="3790"/>
                    <a:pt x="121567" y="0"/>
                    <a:pt x="116501" y="0"/>
                  </a:cubicBezTo>
                  <a:lnTo>
                    <a:pt x="8864" y="0"/>
                  </a:lnTo>
                  <a:cubicBezTo>
                    <a:pt x="3799" y="0"/>
                    <a:pt x="0" y="3790"/>
                    <a:pt x="0" y="8842"/>
                  </a:cubicBezTo>
                  <a:lnTo>
                    <a:pt x="0" y="66949"/>
                  </a:lnTo>
                  <a:cubicBezTo>
                    <a:pt x="0" y="72002"/>
                    <a:pt x="3799" y="75792"/>
                    <a:pt x="8864" y="75792"/>
                  </a:cubicBezTo>
                  <a:lnTo>
                    <a:pt x="116501" y="75792"/>
                  </a:lnTo>
                  <a:cubicBezTo>
                    <a:pt x="121567" y="75792"/>
                    <a:pt x="125366" y="72002"/>
                    <a:pt x="12536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0" name="Freeform 159">
              <a:extLst>
                <a:ext uri="{FF2B5EF4-FFF2-40B4-BE49-F238E27FC236}">
                  <a16:creationId xmlns:a16="http://schemas.microsoft.com/office/drawing/2014/main" id="{73EE277B-271E-3E4E-BDD0-6CD690573F43}"/>
                </a:ext>
              </a:extLst>
            </p:cNvPr>
            <p:cNvSpPr/>
            <p:nvPr/>
          </p:nvSpPr>
          <p:spPr>
            <a:xfrm>
              <a:off x="5842638" y="3822211"/>
              <a:ext cx="125365" cy="77054"/>
            </a:xfrm>
            <a:custGeom>
              <a:avLst/>
              <a:gdLst>
                <a:gd name="connsiteX0" fmla="*/ 125366 w 125365"/>
                <a:gd name="connsiteY0" fmla="*/ 65686 h 77054"/>
                <a:gd name="connsiteX1" fmla="*/ 125366 w 125365"/>
                <a:gd name="connsiteY1" fmla="*/ 11369 h 77054"/>
                <a:gd name="connsiteX2" fmla="*/ 116501 w 125365"/>
                <a:gd name="connsiteY2" fmla="*/ 0 h 77054"/>
                <a:gd name="connsiteX3" fmla="*/ 8864 w 125365"/>
                <a:gd name="connsiteY3" fmla="*/ 0 h 77054"/>
                <a:gd name="connsiteX4" fmla="*/ 0 w 125365"/>
                <a:gd name="connsiteY4" fmla="*/ 11369 h 77054"/>
                <a:gd name="connsiteX5" fmla="*/ 0 w 125365"/>
                <a:gd name="connsiteY5" fmla="*/ 65686 h 77054"/>
                <a:gd name="connsiteX6" fmla="*/ 8864 w 125365"/>
                <a:gd name="connsiteY6" fmla="*/ 77055 h 77054"/>
                <a:gd name="connsiteX7" fmla="*/ 116501 w 125365"/>
                <a:gd name="connsiteY7" fmla="*/ 77055 h 77054"/>
                <a:gd name="connsiteX8" fmla="*/ 125366 w 125365"/>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7054">
                  <a:moveTo>
                    <a:pt x="125366" y="65686"/>
                  </a:moveTo>
                  <a:lnTo>
                    <a:pt x="125366" y="11369"/>
                  </a:lnTo>
                  <a:cubicBezTo>
                    <a:pt x="125366" y="5053"/>
                    <a:pt x="121567" y="0"/>
                    <a:pt x="116501" y="0"/>
                  </a:cubicBezTo>
                  <a:lnTo>
                    <a:pt x="8864" y="0"/>
                  </a:lnTo>
                  <a:cubicBezTo>
                    <a:pt x="3799" y="0"/>
                    <a:pt x="0" y="5053"/>
                    <a:pt x="0" y="11369"/>
                  </a:cubicBezTo>
                  <a:lnTo>
                    <a:pt x="0" y="65686"/>
                  </a:lnTo>
                  <a:cubicBezTo>
                    <a:pt x="0" y="72002"/>
                    <a:pt x="3799" y="77055"/>
                    <a:pt x="8864" y="77055"/>
                  </a:cubicBezTo>
                  <a:lnTo>
                    <a:pt x="116501" y="77055"/>
                  </a:lnTo>
                  <a:cubicBezTo>
                    <a:pt x="121567" y="75792"/>
                    <a:pt x="125366" y="70739"/>
                    <a:pt x="125366"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 name="Freeform 160">
              <a:extLst>
                <a:ext uri="{FF2B5EF4-FFF2-40B4-BE49-F238E27FC236}">
                  <a16:creationId xmlns:a16="http://schemas.microsoft.com/office/drawing/2014/main" id="{58EBBDF3-0054-004D-A74A-EB369F2E9523}"/>
                </a:ext>
              </a:extLst>
            </p:cNvPr>
            <p:cNvSpPr/>
            <p:nvPr/>
          </p:nvSpPr>
          <p:spPr>
            <a:xfrm>
              <a:off x="5842638" y="3967478"/>
              <a:ext cx="125365" cy="75791"/>
            </a:xfrm>
            <a:custGeom>
              <a:avLst/>
              <a:gdLst>
                <a:gd name="connsiteX0" fmla="*/ 125366 w 125365"/>
                <a:gd name="connsiteY0" fmla="*/ 66949 h 75791"/>
                <a:gd name="connsiteX1" fmla="*/ 125366 w 125365"/>
                <a:gd name="connsiteY1" fmla="*/ 8842 h 75791"/>
                <a:gd name="connsiteX2" fmla="*/ 116501 w 125365"/>
                <a:gd name="connsiteY2" fmla="*/ 0 h 75791"/>
                <a:gd name="connsiteX3" fmla="*/ 8864 w 125365"/>
                <a:gd name="connsiteY3" fmla="*/ 0 h 75791"/>
                <a:gd name="connsiteX4" fmla="*/ 0 w 125365"/>
                <a:gd name="connsiteY4" fmla="*/ 8842 h 75791"/>
                <a:gd name="connsiteX5" fmla="*/ 0 w 125365"/>
                <a:gd name="connsiteY5" fmla="*/ 66949 h 75791"/>
                <a:gd name="connsiteX6" fmla="*/ 8864 w 125365"/>
                <a:gd name="connsiteY6" fmla="*/ 75792 h 75791"/>
                <a:gd name="connsiteX7" fmla="*/ 116501 w 125365"/>
                <a:gd name="connsiteY7" fmla="*/ 75792 h 75791"/>
                <a:gd name="connsiteX8" fmla="*/ 125366 w 125365"/>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365" h="75791">
                  <a:moveTo>
                    <a:pt x="125366" y="66949"/>
                  </a:moveTo>
                  <a:lnTo>
                    <a:pt x="125366" y="8842"/>
                  </a:lnTo>
                  <a:cubicBezTo>
                    <a:pt x="125366" y="3790"/>
                    <a:pt x="121567" y="0"/>
                    <a:pt x="116501" y="0"/>
                  </a:cubicBezTo>
                  <a:lnTo>
                    <a:pt x="8864" y="0"/>
                  </a:lnTo>
                  <a:cubicBezTo>
                    <a:pt x="3799" y="0"/>
                    <a:pt x="0" y="3790"/>
                    <a:pt x="0" y="8842"/>
                  </a:cubicBezTo>
                  <a:lnTo>
                    <a:pt x="0" y="66949"/>
                  </a:lnTo>
                  <a:cubicBezTo>
                    <a:pt x="0" y="72002"/>
                    <a:pt x="3799" y="75792"/>
                    <a:pt x="8864" y="75792"/>
                  </a:cubicBezTo>
                  <a:lnTo>
                    <a:pt x="116501" y="75792"/>
                  </a:lnTo>
                  <a:cubicBezTo>
                    <a:pt x="121567" y="75792"/>
                    <a:pt x="125366" y="72002"/>
                    <a:pt x="12536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 name="Freeform 161">
              <a:extLst>
                <a:ext uri="{FF2B5EF4-FFF2-40B4-BE49-F238E27FC236}">
                  <a16:creationId xmlns:a16="http://schemas.microsoft.com/office/drawing/2014/main" id="{3FAE52F1-4EAB-0C4B-8C3A-57C2608ACBC6}"/>
                </a:ext>
              </a:extLst>
            </p:cNvPr>
            <p:cNvSpPr/>
            <p:nvPr/>
          </p:nvSpPr>
          <p:spPr>
            <a:xfrm>
              <a:off x="5412089" y="3752735"/>
              <a:ext cx="87376" cy="75791"/>
            </a:xfrm>
            <a:custGeom>
              <a:avLst/>
              <a:gdLst>
                <a:gd name="connsiteX0" fmla="*/ 87376 w 87376"/>
                <a:gd name="connsiteY0" fmla="*/ 66949 h 75791"/>
                <a:gd name="connsiteX1" fmla="*/ 87376 w 87376"/>
                <a:gd name="connsiteY1" fmla="*/ 8842 h 75791"/>
                <a:gd name="connsiteX2" fmla="*/ 78512 w 87376"/>
                <a:gd name="connsiteY2" fmla="*/ 0 h 75791"/>
                <a:gd name="connsiteX3" fmla="*/ 8864 w 87376"/>
                <a:gd name="connsiteY3" fmla="*/ 0 h 75791"/>
                <a:gd name="connsiteX4" fmla="*/ 0 w 87376"/>
                <a:gd name="connsiteY4" fmla="*/ 8842 h 75791"/>
                <a:gd name="connsiteX5" fmla="*/ 0 w 87376"/>
                <a:gd name="connsiteY5" fmla="*/ 66949 h 75791"/>
                <a:gd name="connsiteX6" fmla="*/ 8864 w 87376"/>
                <a:gd name="connsiteY6" fmla="*/ 75792 h 75791"/>
                <a:gd name="connsiteX7" fmla="*/ 79778 w 87376"/>
                <a:gd name="connsiteY7" fmla="*/ 75792 h 75791"/>
                <a:gd name="connsiteX8" fmla="*/ 87376 w 87376"/>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76" h="75791">
                  <a:moveTo>
                    <a:pt x="87376" y="66949"/>
                  </a:moveTo>
                  <a:lnTo>
                    <a:pt x="87376" y="8842"/>
                  </a:lnTo>
                  <a:cubicBezTo>
                    <a:pt x="87376" y="3790"/>
                    <a:pt x="83577" y="0"/>
                    <a:pt x="78512" y="0"/>
                  </a:cubicBezTo>
                  <a:lnTo>
                    <a:pt x="8864" y="0"/>
                  </a:lnTo>
                  <a:cubicBezTo>
                    <a:pt x="3799" y="0"/>
                    <a:pt x="0" y="3790"/>
                    <a:pt x="0" y="8842"/>
                  </a:cubicBezTo>
                  <a:lnTo>
                    <a:pt x="0" y="66949"/>
                  </a:lnTo>
                  <a:cubicBezTo>
                    <a:pt x="0" y="72002"/>
                    <a:pt x="3799" y="75792"/>
                    <a:pt x="8864" y="75792"/>
                  </a:cubicBezTo>
                  <a:lnTo>
                    <a:pt x="79778" y="75792"/>
                  </a:lnTo>
                  <a:cubicBezTo>
                    <a:pt x="83577" y="75792"/>
                    <a:pt x="87376" y="72002"/>
                    <a:pt x="8737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 name="Freeform 162">
              <a:extLst>
                <a:ext uri="{FF2B5EF4-FFF2-40B4-BE49-F238E27FC236}">
                  <a16:creationId xmlns:a16="http://schemas.microsoft.com/office/drawing/2014/main" id="{DA472A6B-4305-A842-BED7-BE0FEADD4922}"/>
                </a:ext>
              </a:extLst>
            </p:cNvPr>
            <p:cNvSpPr/>
            <p:nvPr/>
          </p:nvSpPr>
          <p:spPr>
            <a:xfrm>
              <a:off x="5412089" y="3894213"/>
              <a:ext cx="87376" cy="75791"/>
            </a:xfrm>
            <a:custGeom>
              <a:avLst/>
              <a:gdLst>
                <a:gd name="connsiteX0" fmla="*/ 87376 w 87376"/>
                <a:gd name="connsiteY0" fmla="*/ 66949 h 75791"/>
                <a:gd name="connsiteX1" fmla="*/ 87376 w 87376"/>
                <a:gd name="connsiteY1" fmla="*/ 8842 h 75791"/>
                <a:gd name="connsiteX2" fmla="*/ 78512 w 87376"/>
                <a:gd name="connsiteY2" fmla="*/ 0 h 75791"/>
                <a:gd name="connsiteX3" fmla="*/ 8864 w 87376"/>
                <a:gd name="connsiteY3" fmla="*/ 0 h 75791"/>
                <a:gd name="connsiteX4" fmla="*/ 0 w 87376"/>
                <a:gd name="connsiteY4" fmla="*/ 8842 h 75791"/>
                <a:gd name="connsiteX5" fmla="*/ 0 w 87376"/>
                <a:gd name="connsiteY5" fmla="*/ 66949 h 75791"/>
                <a:gd name="connsiteX6" fmla="*/ 8864 w 87376"/>
                <a:gd name="connsiteY6" fmla="*/ 75792 h 75791"/>
                <a:gd name="connsiteX7" fmla="*/ 79778 w 87376"/>
                <a:gd name="connsiteY7" fmla="*/ 75792 h 75791"/>
                <a:gd name="connsiteX8" fmla="*/ 87376 w 87376"/>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76" h="75791">
                  <a:moveTo>
                    <a:pt x="87376" y="66949"/>
                  </a:moveTo>
                  <a:lnTo>
                    <a:pt x="87376" y="8842"/>
                  </a:lnTo>
                  <a:cubicBezTo>
                    <a:pt x="87376" y="3789"/>
                    <a:pt x="83577" y="0"/>
                    <a:pt x="78512" y="0"/>
                  </a:cubicBezTo>
                  <a:lnTo>
                    <a:pt x="8864" y="0"/>
                  </a:lnTo>
                  <a:cubicBezTo>
                    <a:pt x="3799" y="0"/>
                    <a:pt x="0" y="3789"/>
                    <a:pt x="0" y="8842"/>
                  </a:cubicBezTo>
                  <a:lnTo>
                    <a:pt x="0" y="66949"/>
                  </a:lnTo>
                  <a:cubicBezTo>
                    <a:pt x="0" y="72002"/>
                    <a:pt x="3799" y="75792"/>
                    <a:pt x="8864" y="75792"/>
                  </a:cubicBezTo>
                  <a:lnTo>
                    <a:pt x="79778" y="75792"/>
                  </a:lnTo>
                  <a:cubicBezTo>
                    <a:pt x="83577" y="75792"/>
                    <a:pt x="87376" y="72002"/>
                    <a:pt x="87376"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 name="Freeform 163">
              <a:extLst>
                <a:ext uri="{FF2B5EF4-FFF2-40B4-BE49-F238E27FC236}">
                  <a16:creationId xmlns:a16="http://schemas.microsoft.com/office/drawing/2014/main" id="{64123FEF-3F75-5847-BEBB-476C22D27723}"/>
                </a:ext>
              </a:extLst>
            </p:cNvPr>
            <p:cNvSpPr/>
            <p:nvPr/>
          </p:nvSpPr>
          <p:spPr>
            <a:xfrm>
              <a:off x="5412089" y="4034428"/>
              <a:ext cx="87376" cy="77054"/>
            </a:xfrm>
            <a:custGeom>
              <a:avLst/>
              <a:gdLst>
                <a:gd name="connsiteX0" fmla="*/ 87376 w 87376"/>
                <a:gd name="connsiteY0" fmla="*/ 65686 h 77054"/>
                <a:gd name="connsiteX1" fmla="*/ 87376 w 87376"/>
                <a:gd name="connsiteY1" fmla="*/ 11369 h 77054"/>
                <a:gd name="connsiteX2" fmla="*/ 78512 w 87376"/>
                <a:gd name="connsiteY2" fmla="*/ 0 h 77054"/>
                <a:gd name="connsiteX3" fmla="*/ 8864 w 87376"/>
                <a:gd name="connsiteY3" fmla="*/ 0 h 77054"/>
                <a:gd name="connsiteX4" fmla="*/ 0 w 87376"/>
                <a:gd name="connsiteY4" fmla="*/ 11369 h 77054"/>
                <a:gd name="connsiteX5" fmla="*/ 0 w 87376"/>
                <a:gd name="connsiteY5" fmla="*/ 65686 h 77054"/>
                <a:gd name="connsiteX6" fmla="*/ 8864 w 87376"/>
                <a:gd name="connsiteY6" fmla="*/ 77055 h 77054"/>
                <a:gd name="connsiteX7" fmla="*/ 79778 w 87376"/>
                <a:gd name="connsiteY7" fmla="*/ 77055 h 77054"/>
                <a:gd name="connsiteX8" fmla="*/ 87376 w 87376"/>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76" h="77054">
                  <a:moveTo>
                    <a:pt x="87376" y="65686"/>
                  </a:moveTo>
                  <a:lnTo>
                    <a:pt x="87376" y="11369"/>
                  </a:lnTo>
                  <a:cubicBezTo>
                    <a:pt x="87376" y="5053"/>
                    <a:pt x="83577" y="0"/>
                    <a:pt x="78512" y="0"/>
                  </a:cubicBezTo>
                  <a:lnTo>
                    <a:pt x="8864" y="0"/>
                  </a:lnTo>
                  <a:cubicBezTo>
                    <a:pt x="3799" y="0"/>
                    <a:pt x="0" y="5053"/>
                    <a:pt x="0" y="11369"/>
                  </a:cubicBezTo>
                  <a:lnTo>
                    <a:pt x="0" y="65686"/>
                  </a:lnTo>
                  <a:cubicBezTo>
                    <a:pt x="0" y="72002"/>
                    <a:pt x="3799" y="77055"/>
                    <a:pt x="8864" y="77055"/>
                  </a:cubicBezTo>
                  <a:lnTo>
                    <a:pt x="79778" y="77055"/>
                  </a:lnTo>
                  <a:cubicBezTo>
                    <a:pt x="83577" y="77055"/>
                    <a:pt x="87376" y="72002"/>
                    <a:pt x="87376"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5" name="Freeform 164">
              <a:extLst>
                <a:ext uri="{FF2B5EF4-FFF2-40B4-BE49-F238E27FC236}">
                  <a16:creationId xmlns:a16="http://schemas.microsoft.com/office/drawing/2014/main" id="{566D9177-889E-5141-9273-1038323F5D89}"/>
                </a:ext>
              </a:extLst>
            </p:cNvPr>
            <p:cNvSpPr/>
            <p:nvPr/>
          </p:nvSpPr>
          <p:spPr>
            <a:xfrm>
              <a:off x="5412089" y="4175905"/>
              <a:ext cx="87376" cy="77054"/>
            </a:xfrm>
            <a:custGeom>
              <a:avLst/>
              <a:gdLst>
                <a:gd name="connsiteX0" fmla="*/ 87376 w 87376"/>
                <a:gd name="connsiteY0" fmla="*/ 65686 h 77054"/>
                <a:gd name="connsiteX1" fmla="*/ 87376 w 87376"/>
                <a:gd name="connsiteY1" fmla="*/ 11369 h 77054"/>
                <a:gd name="connsiteX2" fmla="*/ 78512 w 87376"/>
                <a:gd name="connsiteY2" fmla="*/ 0 h 77054"/>
                <a:gd name="connsiteX3" fmla="*/ 8864 w 87376"/>
                <a:gd name="connsiteY3" fmla="*/ 0 h 77054"/>
                <a:gd name="connsiteX4" fmla="*/ 0 w 87376"/>
                <a:gd name="connsiteY4" fmla="*/ 11369 h 77054"/>
                <a:gd name="connsiteX5" fmla="*/ 0 w 87376"/>
                <a:gd name="connsiteY5" fmla="*/ 65686 h 77054"/>
                <a:gd name="connsiteX6" fmla="*/ 8864 w 87376"/>
                <a:gd name="connsiteY6" fmla="*/ 77055 h 77054"/>
                <a:gd name="connsiteX7" fmla="*/ 79778 w 87376"/>
                <a:gd name="connsiteY7" fmla="*/ 77055 h 77054"/>
                <a:gd name="connsiteX8" fmla="*/ 87376 w 87376"/>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376" h="77054">
                  <a:moveTo>
                    <a:pt x="87376" y="65686"/>
                  </a:moveTo>
                  <a:lnTo>
                    <a:pt x="87376" y="11369"/>
                  </a:lnTo>
                  <a:cubicBezTo>
                    <a:pt x="87376" y="5053"/>
                    <a:pt x="83577" y="0"/>
                    <a:pt x="78512" y="0"/>
                  </a:cubicBezTo>
                  <a:lnTo>
                    <a:pt x="8864" y="0"/>
                  </a:lnTo>
                  <a:cubicBezTo>
                    <a:pt x="3799" y="0"/>
                    <a:pt x="0" y="5053"/>
                    <a:pt x="0" y="11369"/>
                  </a:cubicBezTo>
                  <a:lnTo>
                    <a:pt x="0" y="65686"/>
                  </a:lnTo>
                  <a:cubicBezTo>
                    <a:pt x="0" y="72002"/>
                    <a:pt x="3799" y="77055"/>
                    <a:pt x="8864" y="77055"/>
                  </a:cubicBezTo>
                  <a:lnTo>
                    <a:pt x="79778" y="77055"/>
                  </a:lnTo>
                  <a:cubicBezTo>
                    <a:pt x="83577" y="75792"/>
                    <a:pt x="87376" y="70739"/>
                    <a:pt x="87376"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6" name="Freeform 165">
              <a:extLst>
                <a:ext uri="{FF2B5EF4-FFF2-40B4-BE49-F238E27FC236}">
                  <a16:creationId xmlns:a16="http://schemas.microsoft.com/office/drawing/2014/main" id="{F5927E91-B8BE-914B-A828-714713BF2C31}"/>
                </a:ext>
              </a:extLst>
            </p:cNvPr>
            <p:cNvSpPr/>
            <p:nvPr/>
          </p:nvSpPr>
          <p:spPr>
            <a:xfrm>
              <a:off x="6054113" y="3828527"/>
              <a:ext cx="215274" cy="497697"/>
            </a:xfrm>
            <a:custGeom>
              <a:avLst/>
              <a:gdLst>
                <a:gd name="connsiteX0" fmla="*/ 215274 w 215274"/>
                <a:gd name="connsiteY0" fmla="*/ 497698 h 497697"/>
                <a:gd name="connsiteX1" fmla="*/ 0 w 215274"/>
                <a:gd name="connsiteY1" fmla="*/ 497698 h 497697"/>
                <a:gd name="connsiteX2" fmla="*/ 0 w 215274"/>
                <a:gd name="connsiteY2" fmla="*/ 0 h 497697"/>
                <a:gd name="connsiteX3" fmla="*/ 197546 w 215274"/>
                <a:gd name="connsiteY3" fmla="*/ 0 h 497697"/>
                <a:gd name="connsiteX4" fmla="*/ 215274 w 215274"/>
                <a:gd name="connsiteY4" fmla="*/ 17685 h 497697"/>
                <a:gd name="connsiteX5" fmla="*/ 215274 w 215274"/>
                <a:gd name="connsiteY5" fmla="*/ 497698 h 49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274" h="497697">
                  <a:moveTo>
                    <a:pt x="215274" y="497698"/>
                  </a:moveTo>
                  <a:lnTo>
                    <a:pt x="0" y="497698"/>
                  </a:lnTo>
                  <a:lnTo>
                    <a:pt x="0" y="0"/>
                  </a:lnTo>
                  <a:lnTo>
                    <a:pt x="197546" y="0"/>
                  </a:lnTo>
                  <a:cubicBezTo>
                    <a:pt x="207676" y="0"/>
                    <a:pt x="215274" y="7579"/>
                    <a:pt x="215274" y="17685"/>
                  </a:cubicBezTo>
                  <a:lnTo>
                    <a:pt x="215274" y="497698"/>
                  </a:lnTo>
                  <a:close/>
                </a:path>
              </a:pathLst>
            </a:custGeom>
            <a:solidFill>
              <a:srgbClr val="BFBFB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 name="Freeform 166">
              <a:extLst>
                <a:ext uri="{FF2B5EF4-FFF2-40B4-BE49-F238E27FC236}">
                  <a16:creationId xmlns:a16="http://schemas.microsoft.com/office/drawing/2014/main" id="{F4C3FC74-69C0-F042-9841-73EEC3187BEF}"/>
                </a:ext>
              </a:extLst>
            </p:cNvPr>
            <p:cNvSpPr/>
            <p:nvPr/>
          </p:nvSpPr>
          <p:spPr>
            <a:xfrm>
              <a:off x="6117429" y="3894213"/>
              <a:ext cx="88642" cy="75791"/>
            </a:xfrm>
            <a:custGeom>
              <a:avLst/>
              <a:gdLst>
                <a:gd name="connsiteX0" fmla="*/ 88642 w 88642"/>
                <a:gd name="connsiteY0" fmla="*/ 66949 h 75791"/>
                <a:gd name="connsiteX1" fmla="*/ 88642 w 88642"/>
                <a:gd name="connsiteY1" fmla="*/ 8842 h 75791"/>
                <a:gd name="connsiteX2" fmla="*/ 79778 w 88642"/>
                <a:gd name="connsiteY2" fmla="*/ 0 h 75791"/>
                <a:gd name="connsiteX3" fmla="*/ 8864 w 88642"/>
                <a:gd name="connsiteY3" fmla="*/ 0 h 75791"/>
                <a:gd name="connsiteX4" fmla="*/ 0 w 88642"/>
                <a:gd name="connsiteY4" fmla="*/ 8842 h 75791"/>
                <a:gd name="connsiteX5" fmla="*/ 0 w 88642"/>
                <a:gd name="connsiteY5" fmla="*/ 66949 h 75791"/>
                <a:gd name="connsiteX6" fmla="*/ 8864 w 88642"/>
                <a:gd name="connsiteY6" fmla="*/ 75792 h 75791"/>
                <a:gd name="connsiteX7" fmla="*/ 79778 w 88642"/>
                <a:gd name="connsiteY7" fmla="*/ 75792 h 75791"/>
                <a:gd name="connsiteX8" fmla="*/ 88642 w 88642"/>
                <a:gd name="connsiteY8" fmla="*/ 66949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42" h="75791">
                  <a:moveTo>
                    <a:pt x="88642" y="66949"/>
                  </a:moveTo>
                  <a:lnTo>
                    <a:pt x="88642" y="8842"/>
                  </a:lnTo>
                  <a:cubicBezTo>
                    <a:pt x="88642" y="3789"/>
                    <a:pt x="84844" y="0"/>
                    <a:pt x="79778" y="0"/>
                  </a:cubicBezTo>
                  <a:lnTo>
                    <a:pt x="8864" y="0"/>
                  </a:lnTo>
                  <a:cubicBezTo>
                    <a:pt x="3799" y="0"/>
                    <a:pt x="0" y="3789"/>
                    <a:pt x="0" y="8842"/>
                  </a:cubicBezTo>
                  <a:lnTo>
                    <a:pt x="0" y="66949"/>
                  </a:lnTo>
                  <a:cubicBezTo>
                    <a:pt x="0" y="72002"/>
                    <a:pt x="3799" y="75792"/>
                    <a:pt x="8864" y="75792"/>
                  </a:cubicBezTo>
                  <a:lnTo>
                    <a:pt x="79778" y="75792"/>
                  </a:lnTo>
                  <a:cubicBezTo>
                    <a:pt x="83577" y="75792"/>
                    <a:pt x="88642" y="72002"/>
                    <a:pt x="88642" y="66949"/>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 name="Freeform 167">
              <a:extLst>
                <a:ext uri="{FF2B5EF4-FFF2-40B4-BE49-F238E27FC236}">
                  <a16:creationId xmlns:a16="http://schemas.microsoft.com/office/drawing/2014/main" id="{E10F4ED8-0BD8-2D45-9789-8AEBBA5E9862}"/>
                </a:ext>
              </a:extLst>
            </p:cNvPr>
            <p:cNvSpPr/>
            <p:nvPr/>
          </p:nvSpPr>
          <p:spPr>
            <a:xfrm>
              <a:off x="6117429" y="4034428"/>
              <a:ext cx="88642" cy="77054"/>
            </a:xfrm>
            <a:custGeom>
              <a:avLst/>
              <a:gdLst>
                <a:gd name="connsiteX0" fmla="*/ 88642 w 88642"/>
                <a:gd name="connsiteY0" fmla="*/ 65686 h 77054"/>
                <a:gd name="connsiteX1" fmla="*/ 88642 w 88642"/>
                <a:gd name="connsiteY1" fmla="*/ 11369 h 77054"/>
                <a:gd name="connsiteX2" fmla="*/ 79778 w 88642"/>
                <a:gd name="connsiteY2" fmla="*/ 0 h 77054"/>
                <a:gd name="connsiteX3" fmla="*/ 8864 w 88642"/>
                <a:gd name="connsiteY3" fmla="*/ 0 h 77054"/>
                <a:gd name="connsiteX4" fmla="*/ 0 w 88642"/>
                <a:gd name="connsiteY4" fmla="*/ 11369 h 77054"/>
                <a:gd name="connsiteX5" fmla="*/ 0 w 88642"/>
                <a:gd name="connsiteY5" fmla="*/ 65686 h 77054"/>
                <a:gd name="connsiteX6" fmla="*/ 8864 w 88642"/>
                <a:gd name="connsiteY6" fmla="*/ 77055 h 77054"/>
                <a:gd name="connsiteX7" fmla="*/ 79778 w 88642"/>
                <a:gd name="connsiteY7" fmla="*/ 77055 h 77054"/>
                <a:gd name="connsiteX8" fmla="*/ 88642 w 88642"/>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42" h="77054">
                  <a:moveTo>
                    <a:pt x="88642" y="65686"/>
                  </a:moveTo>
                  <a:lnTo>
                    <a:pt x="88642" y="11369"/>
                  </a:lnTo>
                  <a:cubicBezTo>
                    <a:pt x="88642" y="5053"/>
                    <a:pt x="84844" y="0"/>
                    <a:pt x="79778" y="0"/>
                  </a:cubicBezTo>
                  <a:lnTo>
                    <a:pt x="8864" y="0"/>
                  </a:lnTo>
                  <a:cubicBezTo>
                    <a:pt x="3799" y="0"/>
                    <a:pt x="0" y="5053"/>
                    <a:pt x="0" y="11369"/>
                  </a:cubicBezTo>
                  <a:lnTo>
                    <a:pt x="0" y="65686"/>
                  </a:lnTo>
                  <a:cubicBezTo>
                    <a:pt x="0" y="72002"/>
                    <a:pt x="3799" y="77055"/>
                    <a:pt x="8864" y="77055"/>
                  </a:cubicBezTo>
                  <a:lnTo>
                    <a:pt x="79778" y="77055"/>
                  </a:lnTo>
                  <a:cubicBezTo>
                    <a:pt x="83577" y="77055"/>
                    <a:pt x="88642" y="72002"/>
                    <a:pt x="88642"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9" name="Freeform 168">
              <a:extLst>
                <a:ext uri="{FF2B5EF4-FFF2-40B4-BE49-F238E27FC236}">
                  <a16:creationId xmlns:a16="http://schemas.microsoft.com/office/drawing/2014/main" id="{057FBC92-C6AA-5644-B919-9E2B84A7A516}"/>
                </a:ext>
              </a:extLst>
            </p:cNvPr>
            <p:cNvSpPr/>
            <p:nvPr/>
          </p:nvSpPr>
          <p:spPr>
            <a:xfrm>
              <a:off x="6117429" y="4175905"/>
              <a:ext cx="88642" cy="77054"/>
            </a:xfrm>
            <a:custGeom>
              <a:avLst/>
              <a:gdLst>
                <a:gd name="connsiteX0" fmla="*/ 88642 w 88642"/>
                <a:gd name="connsiteY0" fmla="*/ 65686 h 77054"/>
                <a:gd name="connsiteX1" fmla="*/ 88642 w 88642"/>
                <a:gd name="connsiteY1" fmla="*/ 11369 h 77054"/>
                <a:gd name="connsiteX2" fmla="*/ 79778 w 88642"/>
                <a:gd name="connsiteY2" fmla="*/ 0 h 77054"/>
                <a:gd name="connsiteX3" fmla="*/ 8864 w 88642"/>
                <a:gd name="connsiteY3" fmla="*/ 0 h 77054"/>
                <a:gd name="connsiteX4" fmla="*/ 0 w 88642"/>
                <a:gd name="connsiteY4" fmla="*/ 11369 h 77054"/>
                <a:gd name="connsiteX5" fmla="*/ 0 w 88642"/>
                <a:gd name="connsiteY5" fmla="*/ 65686 h 77054"/>
                <a:gd name="connsiteX6" fmla="*/ 8864 w 88642"/>
                <a:gd name="connsiteY6" fmla="*/ 77055 h 77054"/>
                <a:gd name="connsiteX7" fmla="*/ 79778 w 88642"/>
                <a:gd name="connsiteY7" fmla="*/ 77055 h 77054"/>
                <a:gd name="connsiteX8" fmla="*/ 88642 w 88642"/>
                <a:gd name="connsiteY8" fmla="*/ 65686 h 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42" h="77054">
                  <a:moveTo>
                    <a:pt x="88642" y="65686"/>
                  </a:moveTo>
                  <a:lnTo>
                    <a:pt x="88642" y="11369"/>
                  </a:lnTo>
                  <a:cubicBezTo>
                    <a:pt x="88642" y="5053"/>
                    <a:pt x="84844" y="0"/>
                    <a:pt x="79778" y="0"/>
                  </a:cubicBezTo>
                  <a:lnTo>
                    <a:pt x="8864" y="0"/>
                  </a:lnTo>
                  <a:cubicBezTo>
                    <a:pt x="3799" y="0"/>
                    <a:pt x="0" y="5053"/>
                    <a:pt x="0" y="11369"/>
                  </a:cubicBezTo>
                  <a:lnTo>
                    <a:pt x="0" y="65686"/>
                  </a:lnTo>
                  <a:cubicBezTo>
                    <a:pt x="0" y="72002"/>
                    <a:pt x="3799" y="77055"/>
                    <a:pt x="8864" y="77055"/>
                  </a:cubicBezTo>
                  <a:lnTo>
                    <a:pt x="79778" y="77055"/>
                  </a:lnTo>
                  <a:cubicBezTo>
                    <a:pt x="83577" y="75792"/>
                    <a:pt x="88642" y="70739"/>
                    <a:pt x="88642" y="65686"/>
                  </a:cubicBez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 name="Freeform 169">
              <a:extLst>
                <a:ext uri="{FF2B5EF4-FFF2-40B4-BE49-F238E27FC236}">
                  <a16:creationId xmlns:a16="http://schemas.microsoft.com/office/drawing/2014/main" id="{37E4B272-D2B9-9E4D-853A-F14BCA63592B}"/>
                </a:ext>
              </a:extLst>
            </p:cNvPr>
            <p:cNvSpPr/>
            <p:nvPr/>
          </p:nvSpPr>
          <p:spPr>
            <a:xfrm>
              <a:off x="5651424" y="4106429"/>
              <a:ext cx="316579" cy="50527"/>
            </a:xfrm>
            <a:custGeom>
              <a:avLst/>
              <a:gdLst>
                <a:gd name="connsiteX0" fmla="*/ 316580 w 316579"/>
                <a:gd name="connsiteY0" fmla="*/ 50528 h 50527"/>
                <a:gd name="connsiteX1" fmla="*/ 0 w 316579"/>
                <a:gd name="connsiteY1" fmla="*/ 50528 h 50527"/>
                <a:gd name="connsiteX2" fmla="*/ 0 w 316579"/>
                <a:gd name="connsiteY2" fmla="*/ 8842 h 50527"/>
                <a:gd name="connsiteX3" fmla="*/ 8864 w 316579"/>
                <a:gd name="connsiteY3" fmla="*/ 0 h 50527"/>
                <a:gd name="connsiteX4" fmla="*/ 306449 w 316579"/>
                <a:gd name="connsiteY4" fmla="*/ 0 h 50527"/>
                <a:gd name="connsiteX5" fmla="*/ 315313 w 316579"/>
                <a:gd name="connsiteY5" fmla="*/ 8842 h 50527"/>
                <a:gd name="connsiteX6" fmla="*/ 315313 w 316579"/>
                <a:gd name="connsiteY6" fmla="*/ 50528 h 5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79" h="50527">
                  <a:moveTo>
                    <a:pt x="316580" y="50528"/>
                  </a:moveTo>
                  <a:lnTo>
                    <a:pt x="0" y="50528"/>
                  </a:lnTo>
                  <a:lnTo>
                    <a:pt x="0" y="8842"/>
                  </a:lnTo>
                  <a:cubicBezTo>
                    <a:pt x="0" y="3790"/>
                    <a:pt x="3799" y="0"/>
                    <a:pt x="8864" y="0"/>
                  </a:cubicBezTo>
                  <a:lnTo>
                    <a:pt x="306449" y="0"/>
                  </a:lnTo>
                  <a:cubicBezTo>
                    <a:pt x="311514" y="0"/>
                    <a:pt x="315313" y="3790"/>
                    <a:pt x="315313" y="8842"/>
                  </a:cubicBezTo>
                  <a:lnTo>
                    <a:pt x="315313" y="50528"/>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 name="Freeform 170">
              <a:extLst>
                <a:ext uri="{FF2B5EF4-FFF2-40B4-BE49-F238E27FC236}">
                  <a16:creationId xmlns:a16="http://schemas.microsoft.com/office/drawing/2014/main" id="{1BDB7D54-43F6-C243-83FC-B31827901839}"/>
                </a:ext>
              </a:extLst>
            </p:cNvPr>
            <p:cNvSpPr/>
            <p:nvPr/>
          </p:nvSpPr>
          <p:spPr>
            <a:xfrm>
              <a:off x="5575444" y="3613785"/>
              <a:ext cx="464739" cy="12631"/>
            </a:xfrm>
            <a:custGeom>
              <a:avLst/>
              <a:gdLst>
                <a:gd name="connsiteX0" fmla="*/ 0 w 464739"/>
                <a:gd name="connsiteY0" fmla="*/ 0 h 12631"/>
                <a:gd name="connsiteX1" fmla="*/ 464739 w 464739"/>
                <a:gd name="connsiteY1" fmla="*/ 0 h 12631"/>
                <a:gd name="connsiteX2" fmla="*/ 464739 w 464739"/>
                <a:gd name="connsiteY2" fmla="*/ 12632 h 12631"/>
                <a:gd name="connsiteX3" fmla="*/ 0 w 464739"/>
                <a:gd name="connsiteY3" fmla="*/ 12632 h 12631"/>
              </a:gdLst>
              <a:ahLst/>
              <a:cxnLst>
                <a:cxn ang="0">
                  <a:pos x="connsiteX0" y="connsiteY0"/>
                </a:cxn>
                <a:cxn ang="0">
                  <a:pos x="connsiteX1" y="connsiteY1"/>
                </a:cxn>
                <a:cxn ang="0">
                  <a:pos x="connsiteX2" y="connsiteY2"/>
                </a:cxn>
                <a:cxn ang="0">
                  <a:pos x="connsiteX3" y="connsiteY3"/>
                </a:cxn>
              </a:cxnLst>
              <a:rect l="l" t="t" r="r" b="b"/>
              <a:pathLst>
                <a:path w="464739" h="12631">
                  <a:moveTo>
                    <a:pt x="0" y="0"/>
                  </a:moveTo>
                  <a:lnTo>
                    <a:pt x="464739" y="0"/>
                  </a:lnTo>
                  <a:lnTo>
                    <a:pt x="464739" y="12632"/>
                  </a:lnTo>
                  <a:lnTo>
                    <a:pt x="0" y="12632"/>
                  </a:lnTo>
                  <a:close/>
                </a:path>
              </a:pathLst>
            </a:custGeom>
            <a:solidFill>
              <a:srgbClr val="FFFFFF"/>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2" name="Freeform 171">
              <a:extLst>
                <a:ext uri="{FF2B5EF4-FFF2-40B4-BE49-F238E27FC236}">
                  <a16:creationId xmlns:a16="http://schemas.microsoft.com/office/drawing/2014/main" id="{4241796C-538F-794B-A5F1-844F22288896}"/>
                </a:ext>
              </a:extLst>
            </p:cNvPr>
            <p:cNvSpPr/>
            <p:nvPr/>
          </p:nvSpPr>
          <p:spPr>
            <a:xfrm>
              <a:off x="5803382" y="4156957"/>
              <a:ext cx="12663" cy="169267"/>
            </a:xfrm>
            <a:custGeom>
              <a:avLst/>
              <a:gdLst>
                <a:gd name="connsiteX0" fmla="*/ 0 w 12663"/>
                <a:gd name="connsiteY0" fmla="*/ 0 h 169267"/>
                <a:gd name="connsiteX1" fmla="*/ 12663 w 12663"/>
                <a:gd name="connsiteY1" fmla="*/ 0 h 169267"/>
                <a:gd name="connsiteX2" fmla="*/ 12663 w 12663"/>
                <a:gd name="connsiteY2" fmla="*/ 169268 h 169267"/>
                <a:gd name="connsiteX3" fmla="*/ 0 w 12663"/>
                <a:gd name="connsiteY3" fmla="*/ 169268 h 169267"/>
              </a:gdLst>
              <a:ahLst/>
              <a:cxnLst>
                <a:cxn ang="0">
                  <a:pos x="connsiteX0" y="connsiteY0"/>
                </a:cxn>
                <a:cxn ang="0">
                  <a:pos x="connsiteX1" y="connsiteY1"/>
                </a:cxn>
                <a:cxn ang="0">
                  <a:pos x="connsiteX2" y="connsiteY2"/>
                </a:cxn>
                <a:cxn ang="0">
                  <a:pos x="connsiteX3" y="connsiteY3"/>
                </a:cxn>
              </a:cxnLst>
              <a:rect l="l" t="t" r="r" b="b"/>
              <a:pathLst>
                <a:path w="12663" h="169267">
                  <a:moveTo>
                    <a:pt x="0" y="0"/>
                  </a:moveTo>
                  <a:lnTo>
                    <a:pt x="12663" y="0"/>
                  </a:lnTo>
                  <a:lnTo>
                    <a:pt x="12663" y="169268"/>
                  </a:lnTo>
                  <a:lnTo>
                    <a:pt x="0" y="169268"/>
                  </a:lnTo>
                  <a:close/>
                </a:path>
              </a:pathLst>
            </a:custGeom>
            <a:solidFill>
              <a:schemeClr val="tx1"/>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3" name="Freeform 172">
              <a:extLst>
                <a:ext uri="{FF2B5EF4-FFF2-40B4-BE49-F238E27FC236}">
                  <a16:creationId xmlns:a16="http://schemas.microsoft.com/office/drawing/2014/main" id="{1C10CD85-1DC0-C349-9A32-7AB1FE4DE2A3}"/>
                </a:ext>
              </a:extLst>
            </p:cNvPr>
            <p:cNvSpPr/>
            <p:nvPr/>
          </p:nvSpPr>
          <p:spPr>
            <a:xfrm>
              <a:off x="5651424" y="3487465"/>
              <a:ext cx="316579" cy="75791"/>
            </a:xfrm>
            <a:custGeom>
              <a:avLst/>
              <a:gdLst>
                <a:gd name="connsiteX0" fmla="*/ 316580 w 316579"/>
                <a:gd name="connsiteY0" fmla="*/ 75792 h 75791"/>
                <a:gd name="connsiteX1" fmla="*/ 0 w 316579"/>
                <a:gd name="connsiteY1" fmla="*/ 75792 h 75791"/>
                <a:gd name="connsiteX2" fmla="*/ 0 w 316579"/>
                <a:gd name="connsiteY2" fmla="*/ 17685 h 75791"/>
                <a:gd name="connsiteX3" fmla="*/ 17728 w 316579"/>
                <a:gd name="connsiteY3" fmla="*/ 0 h 75791"/>
                <a:gd name="connsiteX4" fmla="*/ 297585 w 316579"/>
                <a:gd name="connsiteY4" fmla="*/ 0 h 75791"/>
                <a:gd name="connsiteX5" fmla="*/ 315313 w 316579"/>
                <a:gd name="connsiteY5" fmla="*/ 17685 h 75791"/>
                <a:gd name="connsiteX6" fmla="*/ 315313 w 316579"/>
                <a:gd name="connsiteY6" fmla="*/ 75792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79" h="75791">
                  <a:moveTo>
                    <a:pt x="316580" y="75792"/>
                  </a:moveTo>
                  <a:lnTo>
                    <a:pt x="0" y="75792"/>
                  </a:lnTo>
                  <a:lnTo>
                    <a:pt x="0" y="17685"/>
                  </a:lnTo>
                  <a:cubicBezTo>
                    <a:pt x="0" y="7579"/>
                    <a:pt x="7598" y="0"/>
                    <a:pt x="17728" y="0"/>
                  </a:cubicBezTo>
                  <a:lnTo>
                    <a:pt x="297585" y="0"/>
                  </a:lnTo>
                  <a:cubicBezTo>
                    <a:pt x="307715" y="0"/>
                    <a:pt x="315313" y="7579"/>
                    <a:pt x="315313" y="17685"/>
                  </a:cubicBezTo>
                  <a:lnTo>
                    <a:pt x="315313" y="75792"/>
                  </a:lnTo>
                  <a:close/>
                </a:path>
              </a:pathLst>
            </a:custGeom>
            <a:solidFill>
              <a:srgbClr val="0D274D"/>
            </a:solidFill>
            <a:ln w="12660"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Tree>
    <p:extLst>
      <p:ext uri="{BB962C8B-B14F-4D97-AF65-F5344CB8AC3E}">
        <p14:creationId xmlns:p14="http://schemas.microsoft.com/office/powerpoint/2010/main" val="37473679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42A8A15-71EB-4849-AA49-9A2388E04351}"/>
              </a:ext>
            </a:extLst>
          </p:cNvPr>
          <p:cNvSpPr>
            <a:spLocks noGrp="1"/>
          </p:cNvSpPr>
          <p:nvPr>
            <p:ph type="subTitle" idx="1"/>
          </p:nvPr>
        </p:nvSpPr>
        <p:spPr/>
        <p:txBody>
          <a:bodyPr/>
          <a:lstStyle/>
          <a:p>
            <a:endParaRPr lang="en-US" dirty="0"/>
          </a:p>
        </p:txBody>
      </p:sp>
      <p:sp>
        <p:nvSpPr>
          <p:cNvPr id="17" name="Text Placeholder 16">
            <a:extLst>
              <a:ext uri="{FF2B5EF4-FFF2-40B4-BE49-F238E27FC236}">
                <a16:creationId xmlns:a16="http://schemas.microsoft.com/office/drawing/2014/main" id="{E8227914-AC29-4443-A2C2-3A7E9637E4F3}"/>
              </a:ext>
            </a:extLst>
          </p:cNvPr>
          <p:cNvSpPr>
            <a:spLocks noGrp="1"/>
          </p:cNvSpPr>
          <p:nvPr>
            <p:ph type="body" sz="quarter" idx="11"/>
          </p:nvPr>
        </p:nvSpPr>
        <p:spPr/>
        <p:txBody>
          <a:bodyPr/>
          <a:lstStyle/>
          <a:p>
            <a:pPr lvl="0"/>
            <a:endParaRPr lang="en-US" dirty="0">
              <a:sym typeface="Helvetica Neue"/>
            </a:endParaRPr>
          </a:p>
        </p:txBody>
      </p:sp>
      <p:sp>
        <p:nvSpPr>
          <p:cNvPr id="4" name="Text Placeholder 3">
            <a:extLst>
              <a:ext uri="{FF2B5EF4-FFF2-40B4-BE49-F238E27FC236}">
                <a16:creationId xmlns:a16="http://schemas.microsoft.com/office/drawing/2014/main" id="{E210A61B-59DF-459A-977E-A27791909F0B}"/>
              </a:ext>
            </a:extLst>
          </p:cNvPr>
          <p:cNvSpPr>
            <a:spLocks noGrp="1"/>
          </p:cNvSpPr>
          <p:nvPr>
            <p:ph type="body" sz="quarter" idx="12"/>
          </p:nvPr>
        </p:nvSpPr>
        <p:spPr/>
        <p:txBody>
          <a:bodyPr/>
          <a:lstStyle/>
          <a:p>
            <a:endParaRPr lang="en-US" dirty="0"/>
          </a:p>
        </p:txBody>
      </p:sp>
      <p:sp>
        <p:nvSpPr>
          <p:cNvPr id="5" name="Text Placeholder 4">
            <a:extLst>
              <a:ext uri="{FF2B5EF4-FFF2-40B4-BE49-F238E27FC236}">
                <a16:creationId xmlns:a16="http://schemas.microsoft.com/office/drawing/2014/main" id="{1E0FB494-DA5E-4B50-85DB-0619C49C027A}"/>
              </a:ext>
            </a:extLst>
          </p:cNvPr>
          <p:cNvSpPr>
            <a:spLocks noGrp="1"/>
          </p:cNvSpPr>
          <p:nvPr>
            <p:ph type="body" sz="quarter" idx="13"/>
          </p:nvPr>
        </p:nvSpPr>
        <p:spPr/>
        <p:txBody>
          <a:bodyPr/>
          <a:lstStyle/>
          <a:p>
            <a:r>
              <a:rPr lang="en-US" dirty="0"/>
              <a:t>Zero Trust for the Workforce</a:t>
            </a:r>
          </a:p>
        </p:txBody>
      </p:sp>
      <p:sp>
        <p:nvSpPr>
          <p:cNvPr id="13" name="Title 12">
            <a:extLst>
              <a:ext uri="{FF2B5EF4-FFF2-40B4-BE49-F238E27FC236}">
                <a16:creationId xmlns:a16="http://schemas.microsoft.com/office/drawing/2014/main" id="{FCB181EF-948B-354F-8E87-E75D1FC83E52}"/>
              </a:ext>
            </a:extLst>
          </p:cNvPr>
          <p:cNvSpPr>
            <a:spLocks noGrp="1"/>
          </p:cNvSpPr>
          <p:nvPr>
            <p:ph type="ctrTitle"/>
          </p:nvPr>
        </p:nvSpPr>
        <p:spPr/>
        <p:txBody>
          <a:bodyPr/>
          <a:lstStyle/>
          <a:p>
            <a:pPr lvl="0"/>
            <a:r>
              <a:rPr lang="en-US" dirty="0"/>
              <a:t>Cisco Secure </a:t>
            </a:r>
            <a:br>
              <a:rPr lang="en-US" dirty="0"/>
            </a:br>
            <a:r>
              <a:rPr lang="en-US" dirty="0"/>
              <a:t>Access by Duo</a:t>
            </a:r>
          </a:p>
        </p:txBody>
      </p:sp>
      <p:grpSp>
        <p:nvGrpSpPr>
          <p:cNvPr id="6" name="Group 5">
            <a:extLst>
              <a:ext uri="{FF2B5EF4-FFF2-40B4-BE49-F238E27FC236}">
                <a16:creationId xmlns:a16="http://schemas.microsoft.com/office/drawing/2014/main" id="{140B85FB-F651-4E10-BC32-682AF11B7A22}"/>
              </a:ext>
            </a:extLst>
          </p:cNvPr>
          <p:cNvGrpSpPr/>
          <p:nvPr/>
        </p:nvGrpSpPr>
        <p:grpSpPr>
          <a:xfrm>
            <a:off x="6225699" y="4536856"/>
            <a:ext cx="2801565" cy="351643"/>
            <a:chOff x="6342434" y="4536856"/>
            <a:chExt cx="2801565" cy="351643"/>
          </a:xfrm>
        </p:grpSpPr>
        <p:pic>
          <p:nvPicPr>
            <p:cNvPr id="12" name="Google Shape;17;p3" descr="duo green mark.png">
              <a:extLst>
                <a:ext uri="{FF2B5EF4-FFF2-40B4-BE49-F238E27FC236}">
                  <a16:creationId xmlns:a16="http://schemas.microsoft.com/office/drawing/2014/main" id="{AA7E1FCA-635E-4CAD-A2A6-4A97FB985B9F}"/>
                </a:ext>
              </a:extLst>
            </p:cNvPr>
            <p:cNvPicPr preferRelativeResize="0"/>
            <p:nvPr/>
          </p:nvPicPr>
          <p:blipFill rotWithShape="1">
            <a:blip r:embed="rId3" cstate="print">
              <a:alphaModFix/>
              <a:biLevel thresh="25000"/>
              <a:extLst>
                <a:ext uri="{28A0092B-C50C-407E-A947-70E740481C1C}">
                  <a14:useLocalDpi xmlns:a14="http://schemas.microsoft.com/office/drawing/2010/main"/>
                </a:ext>
              </a:extLst>
            </a:blip>
            <a:srcRect/>
            <a:stretch/>
          </p:blipFill>
          <p:spPr>
            <a:xfrm>
              <a:off x="6342434" y="4536856"/>
              <a:ext cx="1079327" cy="351643"/>
            </a:xfrm>
            <a:prstGeom prst="rect">
              <a:avLst/>
            </a:prstGeom>
            <a:noFill/>
            <a:ln>
              <a:noFill/>
            </a:ln>
          </p:spPr>
        </p:pic>
        <p:sp>
          <p:nvSpPr>
            <p:cNvPr id="29" name="Rectangle 28">
              <a:extLst>
                <a:ext uri="{FF2B5EF4-FFF2-40B4-BE49-F238E27FC236}">
                  <a16:creationId xmlns:a16="http://schemas.microsoft.com/office/drawing/2014/main" id="{2E12E106-4358-443D-92A8-C2CDC830F85E}"/>
                </a:ext>
              </a:extLst>
            </p:cNvPr>
            <p:cNvSpPr/>
            <p:nvPr/>
          </p:nvSpPr>
          <p:spPr>
            <a:xfrm>
              <a:off x="7560438" y="4546479"/>
              <a:ext cx="1583561" cy="3323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Duo Security is now part of Cisco Secure.</a:t>
              </a:r>
            </a:p>
          </p:txBody>
        </p:sp>
      </p:grpSp>
      <p:pic>
        <p:nvPicPr>
          <p:cNvPr id="9" name="Picture 8" descr="Icon&#10;&#10;Description automatically generated">
            <a:extLst>
              <a:ext uri="{FF2B5EF4-FFF2-40B4-BE49-F238E27FC236}">
                <a16:creationId xmlns:a16="http://schemas.microsoft.com/office/drawing/2014/main" id="{0F7B35B1-A184-4570-B7A7-C7235BA2851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96856" y="1050204"/>
            <a:ext cx="3175552" cy="3175552"/>
          </a:xfrm>
          <a:prstGeom prst="rect">
            <a:avLst/>
          </a:prstGeom>
        </p:spPr>
      </p:pic>
    </p:spTree>
    <p:extLst>
      <p:ext uri="{BB962C8B-B14F-4D97-AF65-F5344CB8AC3E}">
        <p14:creationId xmlns:p14="http://schemas.microsoft.com/office/powerpoint/2010/main" val="7173181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068CFE-72AA-4B22-8094-4931708743F7}"/>
              </a:ext>
            </a:extLst>
          </p:cNvPr>
          <p:cNvSpPr>
            <a:spLocks noGrp="1"/>
          </p:cNvSpPr>
          <p:nvPr>
            <p:ph type="title"/>
          </p:nvPr>
        </p:nvSpPr>
        <p:spPr/>
        <p:txBody>
          <a:bodyPr/>
          <a:lstStyle/>
          <a:p>
            <a:r>
              <a:rPr lang="en-US" dirty="0">
                <a:sym typeface="Helvetica Neue"/>
              </a:rPr>
              <a:t>What’s Different in a Zero-Trust Approach</a:t>
            </a:r>
            <a:endParaRPr lang="en-US" dirty="0"/>
          </a:p>
        </p:txBody>
      </p:sp>
      <p:sp>
        <p:nvSpPr>
          <p:cNvPr id="7" name="Google Shape;1360;p186">
            <a:extLst>
              <a:ext uri="{FF2B5EF4-FFF2-40B4-BE49-F238E27FC236}">
                <a16:creationId xmlns:a16="http://schemas.microsoft.com/office/drawing/2014/main" id="{6127AD5E-A2CE-4531-935E-B3B5E2C528DF}"/>
              </a:ext>
            </a:extLst>
          </p:cNvPr>
          <p:cNvSpPr/>
          <p:nvPr/>
        </p:nvSpPr>
        <p:spPr>
          <a:xfrm>
            <a:off x="534285" y="1270474"/>
            <a:ext cx="3586800" cy="307800"/>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iscoSansTT" panose="020B0503020201020303" pitchFamily="34" charset="0"/>
                <a:ea typeface="Helvetica Neue Medium" panose="02000503000000020004" pitchFamily="2" charset="0"/>
                <a:cs typeface="CiscoSansTT" panose="020B0503020201020303" pitchFamily="34" charset="0"/>
                <a:sym typeface="Helvetica Neue"/>
              </a:rPr>
              <a:t>The Traditional Approach</a:t>
            </a:r>
          </a:p>
        </p:txBody>
      </p:sp>
      <p:sp>
        <p:nvSpPr>
          <p:cNvPr id="8" name="Google Shape;1361;p186">
            <a:extLst>
              <a:ext uri="{FF2B5EF4-FFF2-40B4-BE49-F238E27FC236}">
                <a16:creationId xmlns:a16="http://schemas.microsoft.com/office/drawing/2014/main" id="{D38CA35D-E6BA-417D-A3EB-A11A79A02CE7}"/>
              </a:ext>
            </a:extLst>
          </p:cNvPr>
          <p:cNvSpPr/>
          <p:nvPr/>
        </p:nvSpPr>
        <p:spPr>
          <a:xfrm>
            <a:off x="534284" y="1638372"/>
            <a:ext cx="2674280" cy="738600"/>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Trust is based on the network location that an access request is coming from</a:t>
            </a:r>
          </a:p>
        </p:txBody>
      </p:sp>
      <p:sp>
        <p:nvSpPr>
          <p:cNvPr id="18" name="Google Shape;1371;p186">
            <a:extLst>
              <a:ext uri="{FF2B5EF4-FFF2-40B4-BE49-F238E27FC236}">
                <a16:creationId xmlns:a16="http://schemas.microsoft.com/office/drawing/2014/main" id="{CC8219B5-33DF-49D7-BE34-D6578DCCA92E}"/>
              </a:ext>
            </a:extLst>
          </p:cNvPr>
          <p:cNvSpPr/>
          <p:nvPr/>
        </p:nvSpPr>
        <p:spPr>
          <a:xfrm>
            <a:off x="3950251" y="1638372"/>
            <a:ext cx="3204299" cy="559555"/>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Trust is established for every access request, regardless of where the request is coming from</a:t>
            </a: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endParaRPr>
          </a:p>
        </p:txBody>
      </p:sp>
      <p:sp>
        <p:nvSpPr>
          <p:cNvPr id="22" name="Google Shape;1375;p186">
            <a:extLst>
              <a:ext uri="{FF2B5EF4-FFF2-40B4-BE49-F238E27FC236}">
                <a16:creationId xmlns:a16="http://schemas.microsoft.com/office/drawing/2014/main" id="{71C633B5-28FA-4BB1-8F0C-491B38E392F2}"/>
              </a:ext>
            </a:extLst>
          </p:cNvPr>
          <p:cNvSpPr/>
          <p:nvPr/>
        </p:nvSpPr>
        <p:spPr>
          <a:xfrm>
            <a:off x="3950251" y="1270474"/>
            <a:ext cx="2951207" cy="303187"/>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DBD4A"/>
                </a:solidFill>
                <a:effectLst/>
                <a:uLnTx/>
                <a:uFillTx/>
                <a:latin typeface="CiscoSansTT" panose="020B0503020201020303" pitchFamily="34" charset="0"/>
                <a:ea typeface="Helvetica Neue Medium" panose="02000503000000020004" pitchFamily="2" charset="0"/>
                <a:cs typeface="CiscoSansTT" panose="020B0503020201020303" pitchFamily="34" charset="0"/>
                <a:sym typeface="Helvetica Neue"/>
              </a:rPr>
              <a:t>The Zero Trust Approach</a:t>
            </a:r>
            <a:endParaRPr kumimoji="0" sz="1800" b="0" i="0" u="none" strike="noStrike" kern="1200" cap="none" spc="0" normalizeH="0" baseline="0" noProof="0" dirty="0">
              <a:ln>
                <a:noFill/>
              </a:ln>
              <a:solidFill>
                <a:srgbClr val="6DBD4A"/>
              </a:solidFill>
              <a:effectLst/>
              <a:uLnTx/>
              <a:uFillTx/>
              <a:latin typeface="CiscoSansTT" panose="020B0503020201020303" pitchFamily="34" charset="0"/>
              <a:ea typeface="Helvetica Neue Medium" panose="02000503000000020004" pitchFamily="2" charset="0"/>
              <a:cs typeface="CiscoSansTT" panose="020B0503020201020303" pitchFamily="34" charset="0"/>
              <a:sym typeface="Helvetica Neue"/>
            </a:endParaRPr>
          </a:p>
        </p:txBody>
      </p:sp>
      <p:sp>
        <p:nvSpPr>
          <p:cNvPr id="17" name="Google Shape;1362;p186">
            <a:extLst>
              <a:ext uri="{FF2B5EF4-FFF2-40B4-BE49-F238E27FC236}">
                <a16:creationId xmlns:a16="http://schemas.microsoft.com/office/drawing/2014/main" id="{8FA00D8B-DCC0-F041-97B6-D1134FBC7935}"/>
              </a:ext>
            </a:extLst>
          </p:cNvPr>
          <p:cNvSpPr/>
          <p:nvPr/>
        </p:nvSpPr>
        <p:spPr>
          <a:xfrm>
            <a:off x="1216011" y="2682714"/>
            <a:ext cx="2074196" cy="738600"/>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Once attackers are in they can move laterally within a network to get to the crown jewels</a:t>
            </a:r>
          </a:p>
          <a:p>
            <a:pPr marL="0" marR="0" lvl="0" indent="0" algn="l" defTabSz="457200" rtl="0" eaLnBrk="1" fontAlgn="base"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endParaRP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Doesn’t extend security to the new perimeter of cloud, mobile and hybrid environment</a:t>
            </a:r>
          </a:p>
        </p:txBody>
      </p:sp>
      <p:sp>
        <p:nvSpPr>
          <p:cNvPr id="21" name="Google Shape;1362;p186">
            <a:extLst>
              <a:ext uri="{FF2B5EF4-FFF2-40B4-BE49-F238E27FC236}">
                <a16:creationId xmlns:a16="http://schemas.microsoft.com/office/drawing/2014/main" id="{CF9BAFC0-EAE7-AB4E-B964-1DEE2DDC3279}"/>
              </a:ext>
            </a:extLst>
          </p:cNvPr>
          <p:cNvSpPr/>
          <p:nvPr/>
        </p:nvSpPr>
        <p:spPr>
          <a:xfrm>
            <a:off x="4623622" y="2682714"/>
            <a:ext cx="2465614" cy="738600"/>
          </a:xfrm>
          <a:prstGeom prst="rect">
            <a:avLst/>
          </a:prstGeom>
          <a:noFill/>
          <a:ln>
            <a:noFill/>
          </a:ln>
        </p:spPr>
        <p:txBody>
          <a:bodyPr spcFirstLastPara="1" wrap="square" lIns="0" tIns="45700" rIns="0" bIns="45700" anchor="t" anchorCtr="0">
            <a:no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Secures access across your applications and network. Ensures </a:t>
            </a:r>
            <a:b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br>
            <a: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only right users &amp; devices have access</a:t>
            </a:r>
          </a:p>
          <a:p>
            <a:pPr marL="0" marR="0" lvl="0" indent="0" algn="l" defTabSz="457200" rtl="0" eaLnBrk="1" fontAlgn="base"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endParaRP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panose="020B0303020201020303" pitchFamily="34" charset="0"/>
                <a:ea typeface="Helvetica Neue"/>
                <a:sym typeface="Helvetica Neue"/>
              </a:rPr>
              <a:t>Extends trust to support a modern enterprise with BYOD, cloud apps, hybrid environments &amp; more</a:t>
            </a:r>
          </a:p>
        </p:txBody>
      </p:sp>
      <p:grpSp>
        <p:nvGrpSpPr>
          <p:cNvPr id="89" name="Group 88">
            <a:extLst>
              <a:ext uri="{FF2B5EF4-FFF2-40B4-BE49-F238E27FC236}">
                <a16:creationId xmlns:a16="http://schemas.microsoft.com/office/drawing/2014/main" id="{95243B34-870C-487B-AC50-81BE438E87B2}"/>
              </a:ext>
            </a:extLst>
          </p:cNvPr>
          <p:cNvGrpSpPr/>
          <p:nvPr/>
        </p:nvGrpSpPr>
        <p:grpSpPr>
          <a:xfrm>
            <a:off x="582277" y="2697729"/>
            <a:ext cx="511469" cy="550860"/>
            <a:chOff x="8028364" y="2598815"/>
            <a:chExt cx="369579" cy="398042"/>
          </a:xfrm>
        </p:grpSpPr>
        <p:sp>
          <p:nvSpPr>
            <p:cNvPr id="42" name="Freeform: Shape 41">
              <a:extLst>
                <a:ext uri="{FF2B5EF4-FFF2-40B4-BE49-F238E27FC236}">
                  <a16:creationId xmlns:a16="http://schemas.microsoft.com/office/drawing/2014/main" id="{5BCC31FC-F32D-4181-8331-6751B2E88EBC}"/>
                </a:ext>
              </a:extLst>
            </p:cNvPr>
            <p:cNvSpPr/>
            <p:nvPr/>
          </p:nvSpPr>
          <p:spPr>
            <a:xfrm>
              <a:off x="8138923" y="2823669"/>
              <a:ext cx="156215" cy="173188"/>
            </a:xfrm>
            <a:custGeom>
              <a:avLst/>
              <a:gdLst>
                <a:gd name="connsiteX0" fmla="*/ 109122 w 156215"/>
                <a:gd name="connsiteY0" fmla="*/ 93514 h 173188"/>
                <a:gd name="connsiteX1" fmla="*/ 119471 w 156215"/>
                <a:gd name="connsiteY1" fmla="*/ 20762 h 173188"/>
                <a:gd name="connsiteX2" fmla="*/ 46719 w 156215"/>
                <a:gd name="connsiteY2" fmla="*/ 10414 h 173188"/>
                <a:gd name="connsiteX3" fmla="*/ 36371 w 156215"/>
                <a:gd name="connsiteY3" fmla="*/ 83165 h 173188"/>
                <a:gd name="connsiteX4" fmla="*/ 46719 w 156215"/>
                <a:gd name="connsiteY4" fmla="*/ 93514 h 173188"/>
                <a:gd name="connsiteX5" fmla="*/ 0 w 156215"/>
                <a:gd name="connsiteY5" fmla="*/ 164861 h 173188"/>
                <a:gd name="connsiteX6" fmla="*/ 8314 w 156215"/>
                <a:gd name="connsiteY6" fmla="*/ 173188 h 173188"/>
                <a:gd name="connsiteX7" fmla="*/ 8653 w 156215"/>
                <a:gd name="connsiteY7" fmla="*/ 173182 h 173188"/>
                <a:gd name="connsiteX8" fmla="*/ 147562 w 156215"/>
                <a:gd name="connsiteY8" fmla="*/ 173182 h 173188"/>
                <a:gd name="connsiteX9" fmla="*/ 156209 w 156215"/>
                <a:gd name="connsiteY9" fmla="*/ 165201 h 173188"/>
                <a:gd name="connsiteX10" fmla="*/ 156216 w 156215"/>
                <a:gd name="connsiteY10" fmla="*/ 164861 h 173188"/>
                <a:gd name="connsiteX11" fmla="*/ 109122 w 156215"/>
                <a:gd name="connsiteY11" fmla="*/ 93514 h 173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215" h="173188">
                  <a:moveTo>
                    <a:pt x="109122" y="93514"/>
                  </a:moveTo>
                  <a:cubicBezTo>
                    <a:pt x="132069" y="76282"/>
                    <a:pt x="136703" y="43710"/>
                    <a:pt x="119471" y="20762"/>
                  </a:cubicBezTo>
                  <a:cubicBezTo>
                    <a:pt x="102239" y="-2185"/>
                    <a:pt x="69666" y="-6818"/>
                    <a:pt x="46719" y="10414"/>
                  </a:cubicBezTo>
                  <a:cubicBezTo>
                    <a:pt x="23772" y="27646"/>
                    <a:pt x="19139" y="60218"/>
                    <a:pt x="36371" y="83165"/>
                  </a:cubicBezTo>
                  <a:cubicBezTo>
                    <a:pt x="39315" y="87086"/>
                    <a:pt x="42798" y="90570"/>
                    <a:pt x="46719" y="93514"/>
                  </a:cubicBezTo>
                  <a:cubicBezTo>
                    <a:pt x="18387" y="105942"/>
                    <a:pt x="64" y="133924"/>
                    <a:pt x="0" y="164861"/>
                  </a:cubicBezTo>
                  <a:cubicBezTo>
                    <a:pt x="-4" y="169457"/>
                    <a:pt x="3718" y="173185"/>
                    <a:pt x="8314" y="173188"/>
                  </a:cubicBezTo>
                  <a:cubicBezTo>
                    <a:pt x="8427" y="173188"/>
                    <a:pt x="8540" y="173186"/>
                    <a:pt x="8653" y="173182"/>
                  </a:cubicBezTo>
                  <a:lnTo>
                    <a:pt x="147562" y="173182"/>
                  </a:lnTo>
                  <a:cubicBezTo>
                    <a:pt x="152154" y="173366"/>
                    <a:pt x="156025" y="169792"/>
                    <a:pt x="156209" y="165201"/>
                  </a:cubicBezTo>
                  <a:cubicBezTo>
                    <a:pt x="156213" y="165088"/>
                    <a:pt x="156216" y="164974"/>
                    <a:pt x="156216" y="164861"/>
                  </a:cubicBezTo>
                  <a:cubicBezTo>
                    <a:pt x="155842" y="133909"/>
                    <a:pt x="137436" y="106024"/>
                    <a:pt x="109122" y="93514"/>
                  </a:cubicBezTo>
                  <a:close/>
                </a:path>
              </a:pathLst>
            </a:custGeom>
            <a:solidFill>
              <a:schemeClr val="accent4"/>
            </a:solidFill>
            <a:ln w="4096"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0F5F61A6-C528-48CE-802E-154476B01D69}"/>
                </a:ext>
              </a:extLst>
            </p:cNvPr>
            <p:cNvGrpSpPr/>
            <p:nvPr/>
          </p:nvGrpSpPr>
          <p:grpSpPr>
            <a:xfrm>
              <a:off x="8287384" y="2598815"/>
              <a:ext cx="110559" cy="95054"/>
              <a:chOff x="8508997" y="2197927"/>
              <a:chExt cx="201438" cy="173188"/>
            </a:xfrm>
          </p:grpSpPr>
          <p:sp>
            <p:nvSpPr>
              <p:cNvPr id="66" name="Rectangle: Rounded Corners 65">
                <a:extLst>
                  <a:ext uri="{FF2B5EF4-FFF2-40B4-BE49-F238E27FC236}">
                    <a16:creationId xmlns:a16="http://schemas.microsoft.com/office/drawing/2014/main" id="{D9FDECF9-1B2A-4C0A-9CB6-B61202C50D30}"/>
                  </a:ext>
                </a:extLst>
              </p:cNvPr>
              <p:cNvSpPr/>
              <p:nvPr/>
            </p:nvSpPr>
            <p:spPr>
              <a:xfrm>
                <a:off x="8508997" y="2197927"/>
                <a:ext cx="201438" cy="127389"/>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3" name="Group 62">
                <a:extLst>
                  <a:ext uri="{FF2B5EF4-FFF2-40B4-BE49-F238E27FC236}">
                    <a16:creationId xmlns:a16="http://schemas.microsoft.com/office/drawing/2014/main" id="{A2865505-EC60-422F-A071-C9763203E4CD}"/>
                  </a:ext>
                </a:extLst>
              </p:cNvPr>
              <p:cNvGrpSpPr/>
              <p:nvPr/>
            </p:nvGrpSpPr>
            <p:grpSpPr>
              <a:xfrm>
                <a:off x="8508997" y="2197927"/>
                <a:ext cx="201438" cy="173188"/>
                <a:chOff x="8111652" y="1972042"/>
                <a:chExt cx="413960" cy="355906"/>
              </a:xfrm>
            </p:grpSpPr>
            <p:sp>
              <p:nvSpPr>
                <p:cNvPr id="29" name="Freeform: Shape 28">
                  <a:extLst>
                    <a:ext uri="{FF2B5EF4-FFF2-40B4-BE49-F238E27FC236}">
                      <a16:creationId xmlns:a16="http://schemas.microsoft.com/office/drawing/2014/main" id="{7DBDC814-7E88-4E9D-A584-980DDCEF3B8D}"/>
                    </a:ext>
                  </a:extLst>
                </p:cNvPr>
                <p:cNvSpPr/>
                <p:nvPr/>
              </p:nvSpPr>
              <p:spPr>
                <a:xfrm>
                  <a:off x="8111653" y="1972042"/>
                  <a:ext cx="413959" cy="241453"/>
                </a:xfrm>
                <a:custGeom>
                  <a:avLst/>
                  <a:gdLst>
                    <a:gd name="connsiteX0" fmla="*/ 379471 w 413959"/>
                    <a:gd name="connsiteY0" fmla="*/ 0 h 241453"/>
                    <a:gd name="connsiteX1" fmla="*/ 34490 w 413959"/>
                    <a:gd name="connsiteY1" fmla="*/ 0 h 241453"/>
                    <a:gd name="connsiteX2" fmla="*/ 8 w 413959"/>
                    <a:gd name="connsiteY2" fmla="*/ 36013 h 241453"/>
                    <a:gd name="connsiteX3" fmla="*/ 8 w 413959"/>
                    <a:gd name="connsiteY3" fmla="*/ 241453 h 241453"/>
                    <a:gd name="connsiteX4" fmla="*/ 413952 w 413959"/>
                    <a:gd name="connsiteY4" fmla="*/ 241453 h 241453"/>
                    <a:gd name="connsiteX5" fmla="*/ 413952 w 413959"/>
                    <a:gd name="connsiteY5" fmla="*/ 36013 h 241453"/>
                    <a:gd name="connsiteX6" fmla="*/ 379471 w 413959"/>
                    <a:gd name="connsiteY6" fmla="*/ 0 h 24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959" h="241453">
                      <a:moveTo>
                        <a:pt x="379471" y="0"/>
                      </a:moveTo>
                      <a:lnTo>
                        <a:pt x="34490" y="0"/>
                      </a:lnTo>
                      <a:cubicBezTo>
                        <a:pt x="15026" y="430"/>
                        <a:pt x="-408" y="16549"/>
                        <a:pt x="8" y="36013"/>
                      </a:cubicBezTo>
                      <a:lnTo>
                        <a:pt x="8" y="241453"/>
                      </a:lnTo>
                      <a:lnTo>
                        <a:pt x="413952" y="241453"/>
                      </a:lnTo>
                      <a:lnTo>
                        <a:pt x="413952" y="36013"/>
                      </a:lnTo>
                      <a:cubicBezTo>
                        <a:pt x="414345" y="16558"/>
                        <a:pt x="398924" y="452"/>
                        <a:pt x="379471" y="0"/>
                      </a:cubicBezTo>
                      <a:close/>
                    </a:path>
                  </a:pathLst>
                </a:custGeom>
                <a:solidFill>
                  <a:srgbClr val="D9D9D9"/>
                </a:solidFill>
                <a:ln w="4096"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0AE299DD-DA87-40DA-B1CE-F8868D863130}"/>
                    </a:ext>
                  </a:extLst>
                </p:cNvPr>
                <p:cNvSpPr/>
                <p:nvPr/>
              </p:nvSpPr>
              <p:spPr>
                <a:xfrm>
                  <a:off x="8111652" y="2230491"/>
                  <a:ext cx="413959" cy="97457"/>
                </a:xfrm>
                <a:custGeom>
                  <a:avLst/>
                  <a:gdLst>
                    <a:gd name="connsiteX0" fmla="*/ 34654 w 294666"/>
                    <a:gd name="connsiteY0" fmla="*/ 34696 h 69372"/>
                    <a:gd name="connsiteX1" fmla="*/ 138659 w 294666"/>
                    <a:gd name="connsiteY1" fmla="*/ 34696 h 69372"/>
                    <a:gd name="connsiteX2" fmla="*/ 138659 w 294666"/>
                    <a:gd name="connsiteY2" fmla="*/ 52003 h 69372"/>
                    <a:gd name="connsiteX3" fmla="*/ 95351 w 294666"/>
                    <a:gd name="connsiteY3" fmla="*/ 52003 h 69372"/>
                    <a:gd name="connsiteX4" fmla="*/ 86076 w 294666"/>
                    <a:gd name="connsiteY4" fmla="*/ 60075 h 69372"/>
                    <a:gd name="connsiteX5" fmla="*/ 94149 w 294666"/>
                    <a:gd name="connsiteY5" fmla="*/ 69351 h 69372"/>
                    <a:gd name="connsiteX6" fmla="*/ 95351 w 294666"/>
                    <a:gd name="connsiteY6" fmla="*/ 69351 h 69372"/>
                    <a:gd name="connsiteX7" fmla="*/ 199356 w 294666"/>
                    <a:gd name="connsiteY7" fmla="*/ 69351 h 69372"/>
                    <a:gd name="connsiteX8" fmla="*/ 207429 w 294666"/>
                    <a:gd name="connsiteY8" fmla="*/ 60075 h 69372"/>
                    <a:gd name="connsiteX9" fmla="*/ 199356 w 294666"/>
                    <a:gd name="connsiteY9" fmla="*/ 52003 h 69372"/>
                    <a:gd name="connsiteX10" fmla="*/ 156007 w 294666"/>
                    <a:gd name="connsiteY10" fmla="*/ 52003 h 69372"/>
                    <a:gd name="connsiteX11" fmla="*/ 156007 w 294666"/>
                    <a:gd name="connsiteY11" fmla="*/ 34696 h 69372"/>
                    <a:gd name="connsiteX12" fmla="*/ 260012 w 294666"/>
                    <a:gd name="connsiteY12" fmla="*/ 34696 h 69372"/>
                    <a:gd name="connsiteX13" fmla="*/ 294666 w 294666"/>
                    <a:gd name="connsiteY13" fmla="*/ 0 h 69372"/>
                    <a:gd name="connsiteX14" fmla="*/ 0 w 294666"/>
                    <a:gd name="connsiteY14" fmla="*/ 0 h 69372"/>
                    <a:gd name="connsiteX15" fmla="*/ 34654 w 294666"/>
                    <a:gd name="connsiteY15" fmla="*/ 34696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666" h="69372">
                      <a:moveTo>
                        <a:pt x="34654" y="34696"/>
                      </a:moveTo>
                      <a:lnTo>
                        <a:pt x="138659" y="34696"/>
                      </a:lnTo>
                      <a:lnTo>
                        <a:pt x="138659" y="52003"/>
                      </a:lnTo>
                      <a:lnTo>
                        <a:pt x="95351" y="52003"/>
                      </a:lnTo>
                      <a:cubicBezTo>
                        <a:pt x="90561" y="51671"/>
                        <a:pt x="86408" y="55285"/>
                        <a:pt x="86076" y="60075"/>
                      </a:cubicBezTo>
                      <a:cubicBezTo>
                        <a:pt x="85744" y="64866"/>
                        <a:pt x="89359" y="69019"/>
                        <a:pt x="94149" y="69351"/>
                      </a:cubicBezTo>
                      <a:cubicBezTo>
                        <a:pt x="94549" y="69380"/>
                        <a:pt x="94951" y="69380"/>
                        <a:pt x="95351" y="69351"/>
                      </a:cubicBezTo>
                      <a:lnTo>
                        <a:pt x="199356" y="69351"/>
                      </a:lnTo>
                      <a:cubicBezTo>
                        <a:pt x="204147" y="69019"/>
                        <a:pt x="207761" y="64866"/>
                        <a:pt x="207429" y="60075"/>
                      </a:cubicBezTo>
                      <a:cubicBezTo>
                        <a:pt x="207129" y="55747"/>
                        <a:pt x="203684" y="52302"/>
                        <a:pt x="199356" y="52003"/>
                      </a:cubicBezTo>
                      <a:lnTo>
                        <a:pt x="156007" y="52003"/>
                      </a:lnTo>
                      <a:lnTo>
                        <a:pt x="156007" y="34696"/>
                      </a:lnTo>
                      <a:lnTo>
                        <a:pt x="260012" y="34696"/>
                      </a:lnTo>
                      <a:cubicBezTo>
                        <a:pt x="279157" y="34673"/>
                        <a:pt x="294666" y="19146"/>
                        <a:pt x="294666" y="0"/>
                      </a:cubicBezTo>
                      <a:lnTo>
                        <a:pt x="0" y="0"/>
                      </a:lnTo>
                      <a:cubicBezTo>
                        <a:pt x="23" y="19137"/>
                        <a:pt x="15518" y="34650"/>
                        <a:pt x="34654" y="34696"/>
                      </a:cubicBezTo>
                      <a:close/>
                    </a:path>
                  </a:pathLst>
                </a:custGeom>
                <a:solidFill>
                  <a:srgbClr val="13284C"/>
                </a:solidFill>
                <a:ln w="4068" cap="flat">
                  <a:noFill/>
                  <a:prstDash val="solid"/>
                  <a:miter/>
                </a:ln>
              </p:spPr>
              <p:txBody>
                <a:bodyPr rtlCol="0" anchor="ctr"/>
                <a:lstStyle/>
                <a:p>
                  <a:endParaRPr lang="en-US"/>
                </a:p>
              </p:txBody>
            </p:sp>
          </p:grpSp>
        </p:grpSp>
        <p:sp>
          <p:nvSpPr>
            <p:cNvPr id="69" name="Freeform: Shape 68">
              <a:extLst>
                <a:ext uri="{FF2B5EF4-FFF2-40B4-BE49-F238E27FC236}">
                  <a16:creationId xmlns:a16="http://schemas.microsoft.com/office/drawing/2014/main" id="{3A5A20A8-45EC-4FBC-8846-22F16536DF72}"/>
                </a:ext>
              </a:extLst>
            </p:cNvPr>
            <p:cNvSpPr/>
            <p:nvPr/>
          </p:nvSpPr>
          <p:spPr>
            <a:xfrm>
              <a:off x="8068903" y="2712489"/>
              <a:ext cx="103474" cy="103807"/>
            </a:xfrm>
            <a:custGeom>
              <a:avLst/>
              <a:gdLst>
                <a:gd name="connsiteX0" fmla="*/ 100947 w 103474"/>
                <a:gd name="connsiteY0" fmla="*/ 89028 h 103807"/>
                <a:gd name="connsiteX1" fmla="*/ 29600 w 103474"/>
                <a:gd name="connsiteY1" fmla="*/ 17348 h 103807"/>
                <a:gd name="connsiteX2" fmla="*/ 52024 w 103474"/>
                <a:gd name="connsiteY2" fmla="*/ 17348 h 103807"/>
                <a:gd name="connsiteX3" fmla="*/ 60096 w 103474"/>
                <a:gd name="connsiteY3" fmla="*/ 8073 h 103807"/>
                <a:gd name="connsiteX4" fmla="*/ 52024 w 103474"/>
                <a:gd name="connsiteY4" fmla="*/ 0 h 103807"/>
                <a:gd name="connsiteX5" fmla="*/ 8674 w 103474"/>
                <a:gd name="connsiteY5" fmla="*/ 0 h 103807"/>
                <a:gd name="connsiteX6" fmla="*/ 21 w 103474"/>
                <a:gd name="connsiteY6" fmla="*/ 8695 h 103807"/>
                <a:gd name="connsiteX7" fmla="*/ 21 w 103474"/>
                <a:gd name="connsiteY7" fmla="*/ 52003 h 103807"/>
                <a:gd name="connsiteX8" fmla="*/ 8094 w 103474"/>
                <a:gd name="connsiteY8" fmla="*/ 61278 h 103807"/>
                <a:gd name="connsiteX9" fmla="*/ 17369 w 103474"/>
                <a:gd name="connsiteY9" fmla="*/ 53205 h 103807"/>
                <a:gd name="connsiteX10" fmla="*/ 17369 w 103474"/>
                <a:gd name="connsiteY10" fmla="*/ 52003 h 103807"/>
                <a:gd name="connsiteX11" fmla="*/ 17369 w 103474"/>
                <a:gd name="connsiteY11" fmla="*/ 29621 h 103807"/>
                <a:gd name="connsiteX12" fmla="*/ 88675 w 103474"/>
                <a:gd name="connsiteY12" fmla="*/ 101259 h 103807"/>
                <a:gd name="connsiteX13" fmla="*/ 100927 w 103474"/>
                <a:gd name="connsiteY13" fmla="*/ 101280 h 103807"/>
                <a:gd name="connsiteX14" fmla="*/ 100947 w 103474"/>
                <a:gd name="connsiteY14" fmla="*/ 89028 h 103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474" h="103807">
                  <a:moveTo>
                    <a:pt x="100947" y="89028"/>
                  </a:moveTo>
                  <a:lnTo>
                    <a:pt x="29600" y="17348"/>
                  </a:lnTo>
                  <a:lnTo>
                    <a:pt x="52024" y="17348"/>
                  </a:lnTo>
                  <a:cubicBezTo>
                    <a:pt x="56814" y="17016"/>
                    <a:pt x="60428" y="12863"/>
                    <a:pt x="60096" y="8073"/>
                  </a:cubicBezTo>
                  <a:cubicBezTo>
                    <a:pt x="59796" y="3745"/>
                    <a:pt x="56352" y="300"/>
                    <a:pt x="52024" y="0"/>
                  </a:cubicBezTo>
                  <a:lnTo>
                    <a:pt x="8674" y="0"/>
                  </a:lnTo>
                  <a:cubicBezTo>
                    <a:pt x="3888" y="23"/>
                    <a:pt x="21" y="3909"/>
                    <a:pt x="21" y="8695"/>
                  </a:cubicBezTo>
                  <a:lnTo>
                    <a:pt x="21" y="52003"/>
                  </a:lnTo>
                  <a:cubicBezTo>
                    <a:pt x="-311" y="56793"/>
                    <a:pt x="3304" y="60946"/>
                    <a:pt x="8094" y="61278"/>
                  </a:cubicBezTo>
                  <a:cubicBezTo>
                    <a:pt x="12884" y="61610"/>
                    <a:pt x="17037" y="57995"/>
                    <a:pt x="17369" y="53205"/>
                  </a:cubicBezTo>
                  <a:cubicBezTo>
                    <a:pt x="17397" y="52805"/>
                    <a:pt x="17397" y="52403"/>
                    <a:pt x="17369" y="52003"/>
                  </a:cubicBezTo>
                  <a:lnTo>
                    <a:pt x="17369" y="29621"/>
                  </a:lnTo>
                  <a:lnTo>
                    <a:pt x="88675" y="101259"/>
                  </a:lnTo>
                  <a:cubicBezTo>
                    <a:pt x="92052" y="104648"/>
                    <a:pt x="97538" y="104658"/>
                    <a:pt x="100927" y="101280"/>
                  </a:cubicBezTo>
                  <a:cubicBezTo>
                    <a:pt x="104315" y="97902"/>
                    <a:pt x="104325" y="92417"/>
                    <a:pt x="100947" y="89028"/>
                  </a:cubicBezTo>
                  <a:close/>
                </a:path>
              </a:pathLst>
            </a:custGeom>
            <a:solidFill>
              <a:schemeClr val="accent4"/>
            </a:solidFill>
            <a:ln w="4068"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24C4B9E6-2AF7-40E5-8F02-7586F0D6FF13}"/>
                </a:ext>
              </a:extLst>
            </p:cNvPr>
            <p:cNvSpPr/>
            <p:nvPr/>
          </p:nvSpPr>
          <p:spPr>
            <a:xfrm>
              <a:off x="8259876" y="2712489"/>
              <a:ext cx="103714" cy="103881"/>
            </a:xfrm>
            <a:custGeom>
              <a:avLst/>
              <a:gdLst>
                <a:gd name="connsiteX0" fmla="*/ 2788 w 103714"/>
                <a:gd name="connsiteY0" fmla="*/ 89028 h 103881"/>
                <a:gd name="connsiteX1" fmla="*/ 74177 w 103714"/>
                <a:gd name="connsiteY1" fmla="*/ 17348 h 103881"/>
                <a:gd name="connsiteX2" fmla="*/ 51712 w 103714"/>
                <a:gd name="connsiteY2" fmla="*/ 17348 h 103881"/>
                <a:gd name="connsiteX3" fmla="*/ 43639 w 103714"/>
                <a:gd name="connsiteY3" fmla="*/ 8073 h 103881"/>
                <a:gd name="connsiteX4" fmla="*/ 51712 w 103714"/>
                <a:gd name="connsiteY4" fmla="*/ 0 h 103881"/>
                <a:gd name="connsiteX5" fmla="*/ 95061 w 103714"/>
                <a:gd name="connsiteY5" fmla="*/ 0 h 103881"/>
                <a:gd name="connsiteX6" fmla="*/ 103714 w 103714"/>
                <a:gd name="connsiteY6" fmla="*/ 8695 h 103881"/>
                <a:gd name="connsiteX7" fmla="*/ 103714 w 103714"/>
                <a:gd name="connsiteY7" fmla="*/ 52003 h 103881"/>
                <a:gd name="connsiteX8" fmla="*/ 95061 w 103714"/>
                <a:gd name="connsiteY8" fmla="*/ 60656 h 103881"/>
                <a:gd name="connsiteX9" fmla="*/ 86408 w 103714"/>
                <a:gd name="connsiteY9" fmla="*/ 52003 h 103881"/>
                <a:gd name="connsiteX10" fmla="*/ 86408 w 103714"/>
                <a:gd name="connsiteY10" fmla="*/ 29621 h 103881"/>
                <a:gd name="connsiteX11" fmla="*/ 14978 w 103714"/>
                <a:gd name="connsiteY11" fmla="*/ 101259 h 103881"/>
                <a:gd name="connsiteX12" fmla="*/ 2622 w 103714"/>
                <a:gd name="connsiteY12" fmla="*/ 101384 h 103881"/>
                <a:gd name="connsiteX13" fmla="*/ 2497 w 103714"/>
                <a:gd name="connsiteY13" fmla="*/ 89028 h 10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714" h="103881">
                  <a:moveTo>
                    <a:pt x="2788" y="89028"/>
                  </a:moveTo>
                  <a:lnTo>
                    <a:pt x="74177" y="17348"/>
                  </a:lnTo>
                  <a:lnTo>
                    <a:pt x="51712" y="17348"/>
                  </a:lnTo>
                  <a:cubicBezTo>
                    <a:pt x="46922" y="17016"/>
                    <a:pt x="43307" y="12863"/>
                    <a:pt x="43639" y="8073"/>
                  </a:cubicBezTo>
                  <a:cubicBezTo>
                    <a:pt x="43939" y="3745"/>
                    <a:pt x="47384" y="300"/>
                    <a:pt x="51712" y="0"/>
                  </a:cubicBezTo>
                  <a:lnTo>
                    <a:pt x="95061" y="0"/>
                  </a:lnTo>
                  <a:cubicBezTo>
                    <a:pt x="99847" y="23"/>
                    <a:pt x="103714" y="3909"/>
                    <a:pt x="103714" y="8695"/>
                  </a:cubicBezTo>
                  <a:lnTo>
                    <a:pt x="103714" y="52003"/>
                  </a:lnTo>
                  <a:cubicBezTo>
                    <a:pt x="103714" y="56782"/>
                    <a:pt x="99840" y="60656"/>
                    <a:pt x="95061" y="60656"/>
                  </a:cubicBezTo>
                  <a:cubicBezTo>
                    <a:pt x="90282" y="60656"/>
                    <a:pt x="86408" y="56782"/>
                    <a:pt x="86408" y="52003"/>
                  </a:cubicBezTo>
                  <a:lnTo>
                    <a:pt x="86408" y="29621"/>
                  </a:lnTo>
                  <a:lnTo>
                    <a:pt x="14978" y="101259"/>
                  </a:lnTo>
                  <a:cubicBezTo>
                    <a:pt x="11600" y="104706"/>
                    <a:pt x="6068" y="104762"/>
                    <a:pt x="2622" y="101384"/>
                  </a:cubicBezTo>
                  <a:cubicBezTo>
                    <a:pt x="-824" y="98006"/>
                    <a:pt x="-881" y="92475"/>
                    <a:pt x="2497" y="89028"/>
                  </a:cubicBezTo>
                  <a:close/>
                </a:path>
              </a:pathLst>
            </a:custGeom>
            <a:solidFill>
              <a:schemeClr val="accent4"/>
            </a:solidFill>
            <a:ln w="4068"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23CB4543-D09D-4847-AEC2-F5C06E7CAE96}"/>
                </a:ext>
              </a:extLst>
            </p:cNvPr>
            <p:cNvSpPr/>
            <p:nvPr/>
          </p:nvSpPr>
          <p:spPr>
            <a:xfrm>
              <a:off x="8173317" y="2712520"/>
              <a:ext cx="86276" cy="104325"/>
            </a:xfrm>
            <a:custGeom>
              <a:avLst/>
              <a:gdLst>
                <a:gd name="connsiteX0" fmla="*/ 82815 w 86276"/>
                <a:gd name="connsiteY0" fmla="*/ 27718 h 104325"/>
                <a:gd name="connsiteX1" fmla="*/ 48161 w 86276"/>
                <a:gd name="connsiteY1" fmla="*/ 1716 h 104325"/>
                <a:gd name="connsiteX2" fmla="*/ 37760 w 86276"/>
                <a:gd name="connsiteY2" fmla="*/ 1716 h 104325"/>
                <a:gd name="connsiteX3" fmla="*/ 3064 w 86276"/>
                <a:gd name="connsiteY3" fmla="*/ 27718 h 104325"/>
                <a:gd name="connsiteX4" fmla="*/ 2070 w 86276"/>
                <a:gd name="connsiteY4" fmla="*/ 39974 h 104325"/>
                <a:gd name="connsiteX5" fmla="*/ 13465 w 86276"/>
                <a:gd name="connsiteY5" fmla="*/ 41613 h 104325"/>
                <a:gd name="connsiteX6" fmla="*/ 34266 w 86276"/>
                <a:gd name="connsiteY6" fmla="*/ 25970 h 104325"/>
                <a:gd name="connsiteX7" fmla="*/ 34266 w 86276"/>
                <a:gd name="connsiteY7" fmla="*/ 95030 h 104325"/>
                <a:gd name="connsiteX8" fmla="*/ 42339 w 86276"/>
                <a:gd name="connsiteY8" fmla="*/ 104305 h 104325"/>
                <a:gd name="connsiteX9" fmla="*/ 51614 w 86276"/>
                <a:gd name="connsiteY9" fmla="*/ 96232 h 104325"/>
                <a:gd name="connsiteX10" fmla="*/ 51614 w 86276"/>
                <a:gd name="connsiteY10" fmla="*/ 95030 h 104325"/>
                <a:gd name="connsiteX11" fmla="*/ 51614 w 86276"/>
                <a:gd name="connsiteY11" fmla="*/ 25970 h 104325"/>
                <a:gd name="connsiteX12" fmla="*/ 72415 w 86276"/>
                <a:gd name="connsiteY12" fmla="*/ 41571 h 104325"/>
                <a:gd name="connsiteX13" fmla="*/ 84542 w 86276"/>
                <a:gd name="connsiteY13" fmla="*/ 39845 h 104325"/>
                <a:gd name="connsiteX14" fmla="*/ 82815 w 86276"/>
                <a:gd name="connsiteY14" fmla="*/ 27718 h 10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6276" h="104325">
                  <a:moveTo>
                    <a:pt x="82815" y="27718"/>
                  </a:moveTo>
                  <a:lnTo>
                    <a:pt x="48161" y="1716"/>
                  </a:lnTo>
                  <a:cubicBezTo>
                    <a:pt x="45071" y="-572"/>
                    <a:pt x="40850" y="-572"/>
                    <a:pt x="37760" y="1716"/>
                  </a:cubicBezTo>
                  <a:lnTo>
                    <a:pt x="3064" y="27718"/>
                  </a:lnTo>
                  <a:cubicBezTo>
                    <a:pt x="-595" y="30827"/>
                    <a:pt x="-1040" y="36315"/>
                    <a:pt x="2070" y="39974"/>
                  </a:cubicBezTo>
                  <a:cubicBezTo>
                    <a:pt x="4911" y="43317"/>
                    <a:pt x="9797" y="44019"/>
                    <a:pt x="13465" y="41613"/>
                  </a:cubicBezTo>
                  <a:lnTo>
                    <a:pt x="34266" y="25970"/>
                  </a:lnTo>
                  <a:lnTo>
                    <a:pt x="34266" y="95030"/>
                  </a:lnTo>
                  <a:cubicBezTo>
                    <a:pt x="33934" y="99820"/>
                    <a:pt x="37548" y="103973"/>
                    <a:pt x="42339" y="104305"/>
                  </a:cubicBezTo>
                  <a:cubicBezTo>
                    <a:pt x="47129" y="104637"/>
                    <a:pt x="51282" y="101022"/>
                    <a:pt x="51614" y="96232"/>
                  </a:cubicBezTo>
                  <a:cubicBezTo>
                    <a:pt x="51642" y="95832"/>
                    <a:pt x="51642" y="95430"/>
                    <a:pt x="51614" y="95030"/>
                  </a:cubicBezTo>
                  <a:lnTo>
                    <a:pt x="51614" y="25970"/>
                  </a:lnTo>
                  <a:lnTo>
                    <a:pt x="72415" y="41571"/>
                  </a:lnTo>
                  <a:cubicBezTo>
                    <a:pt x="76240" y="44443"/>
                    <a:pt x="81669" y="43670"/>
                    <a:pt x="84542" y="39845"/>
                  </a:cubicBezTo>
                  <a:cubicBezTo>
                    <a:pt x="87414" y="36019"/>
                    <a:pt x="86641" y="30590"/>
                    <a:pt x="82815" y="27718"/>
                  </a:cubicBezTo>
                  <a:close/>
                </a:path>
              </a:pathLst>
            </a:custGeom>
            <a:solidFill>
              <a:schemeClr val="accent4"/>
            </a:solidFill>
            <a:ln w="4068" cap="flat">
              <a:noFill/>
              <a:prstDash val="solid"/>
              <a:miter/>
            </a:ln>
          </p:spPr>
          <p:txBody>
            <a:bodyPr rtlCol="0" anchor="ctr"/>
            <a:lstStyle/>
            <a:p>
              <a:endParaRPr lang="en-US"/>
            </a:p>
          </p:txBody>
        </p:sp>
        <p:grpSp>
          <p:nvGrpSpPr>
            <p:cNvPr id="79" name="Group 78">
              <a:extLst>
                <a:ext uri="{FF2B5EF4-FFF2-40B4-BE49-F238E27FC236}">
                  <a16:creationId xmlns:a16="http://schemas.microsoft.com/office/drawing/2014/main" id="{6E840666-9A0A-43D4-94A7-7A71BD875513}"/>
                </a:ext>
              </a:extLst>
            </p:cNvPr>
            <p:cNvGrpSpPr/>
            <p:nvPr/>
          </p:nvGrpSpPr>
          <p:grpSpPr>
            <a:xfrm>
              <a:off x="8161175" y="2598815"/>
              <a:ext cx="110559" cy="95054"/>
              <a:chOff x="8508997" y="2197927"/>
              <a:chExt cx="201438" cy="173188"/>
            </a:xfrm>
          </p:grpSpPr>
          <p:sp>
            <p:nvSpPr>
              <p:cNvPr id="80" name="Rectangle: Rounded Corners 79">
                <a:extLst>
                  <a:ext uri="{FF2B5EF4-FFF2-40B4-BE49-F238E27FC236}">
                    <a16:creationId xmlns:a16="http://schemas.microsoft.com/office/drawing/2014/main" id="{D00B4125-B902-43A1-AED0-3320FA1A49CD}"/>
                  </a:ext>
                </a:extLst>
              </p:cNvPr>
              <p:cNvSpPr/>
              <p:nvPr/>
            </p:nvSpPr>
            <p:spPr>
              <a:xfrm>
                <a:off x="8508997" y="2197927"/>
                <a:ext cx="201438" cy="127389"/>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1" name="Group 80">
                <a:extLst>
                  <a:ext uri="{FF2B5EF4-FFF2-40B4-BE49-F238E27FC236}">
                    <a16:creationId xmlns:a16="http://schemas.microsoft.com/office/drawing/2014/main" id="{70316961-863B-4B9A-909C-77B580FA7DB8}"/>
                  </a:ext>
                </a:extLst>
              </p:cNvPr>
              <p:cNvGrpSpPr/>
              <p:nvPr/>
            </p:nvGrpSpPr>
            <p:grpSpPr>
              <a:xfrm>
                <a:off x="8508997" y="2197927"/>
                <a:ext cx="201438" cy="173188"/>
                <a:chOff x="8111652" y="1972042"/>
                <a:chExt cx="413960" cy="355906"/>
              </a:xfrm>
            </p:grpSpPr>
            <p:sp>
              <p:nvSpPr>
                <p:cNvPr id="82" name="Freeform: Shape 81">
                  <a:extLst>
                    <a:ext uri="{FF2B5EF4-FFF2-40B4-BE49-F238E27FC236}">
                      <a16:creationId xmlns:a16="http://schemas.microsoft.com/office/drawing/2014/main" id="{03F63F54-87F5-4FD1-8F4F-E0D154ABA18D}"/>
                    </a:ext>
                  </a:extLst>
                </p:cNvPr>
                <p:cNvSpPr/>
                <p:nvPr/>
              </p:nvSpPr>
              <p:spPr>
                <a:xfrm>
                  <a:off x="8111653" y="1972042"/>
                  <a:ext cx="413959" cy="241453"/>
                </a:xfrm>
                <a:custGeom>
                  <a:avLst/>
                  <a:gdLst>
                    <a:gd name="connsiteX0" fmla="*/ 379471 w 413959"/>
                    <a:gd name="connsiteY0" fmla="*/ 0 h 241453"/>
                    <a:gd name="connsiteX1" fmla="*/ 34490 w 413959"/>
                    <a:gd name="connsiteY1" fmla="*/ 0 h 241453"/>
                    <a:gd name="connsiteX2" fmla="*/ 8 w 413959"/>
                    <a:gd name="connsiteY2" fmla="*/ 36013 h 241453"/>
                    <a:gd name="connsiteX3" fmla="*/ 8 w 413959"/>
                    <a:gd name="connsiteY3" fmla="*/ 241453 h 241453"/>
                    <a:gd name="connsiteX4" fmla="*/ 413952 w 413959"/>
                    <a:gd name="connsiteY4" fmla="*/ 241453 h 241453"/>
                    <a:gd name="connsiteX5" fmla="*/ 413952 w 413959"/>
                    <a:gd name="connsiteY5" fmla="*/ 36013 h 241453"/>
                    <a:gd name="connsiteX6" fmla="*/ 379471 w 413959"/>
                    <a:gd name="connsiteY6" fmla="*/ 0 h 24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959" h="241453">
                      <a:moveTo>
                        <a:pt x="379471" y="0"/>
                      </a:moveTo>
                      <a:lnTo>
                        <a:pt x="34490" y="0"/>
                      </a:lnTo>
                      <a:cubicBezTo>
                        <a:pt x="15026" y="430"/>
                        <a:pt x="-408" y="16549"/>
                        <a:pt x="8" y="36013"/>
                      </a:cubicBezTo>
                      <a:lnTo>
                        <a:pt x="8" y="241453"/>
                      </a:lnTo>
                      <a:lnTo>
                        <a:pt x="413952" y="241453"/>
                      </a:lnTo>
                      <a:lnTo>
                        <a:pt x="413952" y="36013"/>
                      </a:lnTo>
                      <a:cubicBezTo>
                        <a:pt x="414345" y="16558"/>
                        <a:pt x="398924" y="452"/>
                        <a:pt x="379471" y="0"/>
                      </a:cubicBezTo>
                      <a:close/>
                    </a:path>
                  </a:pathLst>
                </a:custGeom>
                <a:solidFill>
                  <a:srgbClr val="D9D9D9"/>
                </a:solidFill>
                <a:ln w="4096"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CF97507-185E-4762-8C92-1AB0DB137562}"/>
                    </a:ext>
                  </a:extLst>
                </p:cNvPr>
                <p:cNvSpPr/>
                <p:nvPr/>
              </p:nvSpPr>
              <p:spPr>
                <a:xfrm>
                  <a:off x="8111652" y="2230491"/>
                  <a:ext cx="413959" cy="97457"/>
                </a:xfrm>
                <a:custGeom>
                  <a:avLst/>
                  <a:gdLst>
                    <a:gd name="connsiteX0" fmla="*/ 34654 w 294666"/>
                    <a:gd name="connsiteY0" fmla="*/ 34696 h 69372"/>
                    <a:gd name="connsiteX1" fmla="*/ 138659 w 294666"/>
                    <a:gd name="connsiteY1" fmla="*/ 34696 h 69372"/>
                    <a:gd name="connsiteX2" fmla="*/ 138659 w 294666"/>
                    <a:gd name="connsiteY2" fmla="*/ 52003 h 69372"/>
                    <a:gd name="connsiteX3" fmla="*/ 95351 w 294666"/>
                    <a:gd name="connsiteY3" fmla="*/ 52003 h 69372"/>
                    <a:gd name="connsiteX4" fmla="*/ 86076 w 294666"/>
                    <a:gd name="connsiteY4" fmla="*/ 60075 h 69372"/>
                    <a:gd name="connsiteX5" fmla="*/ 94149 w 294666"/>
                    <a:gd name="connsiteY5" fmla="*/ 69351 h 69372"/>
                    <a:gd name="connsiteX6" fmla="*/ 95351 w 294666"/>
                    <a:gd name="connsiteY6" fmla="*/ 69351 h 69372"/>
                    <a:gd name="connsiteX7" fmla="*/ 199356 w 294666"/>
                    <a:gd name="connsiteY7" fmla="*/ 69351 h 69372"/>
                    <a:gd name="connsiteX8" fmla="*/ 207429 w 294666"/>
                    <a:gd name="connsiteY8" fmla="*/ 60075 h 69372"/>
                    <a:gd name="connsiteX9" fmla="*/ 199356 w 294666"/>
                    <a:gd name="connsiteY9" fmla="*/ 52003 h 69372"/>
                    <a:gd name="connsiteX10" fmla="*/ 156007 w 294666"/>
                    <a:gd name="connsiteY10" fmla="*/ 52003 h 69372"/>
                    <a:gd name="connsiteX11" fmla="*/ 156007 w 294666"/>
                    <a:gd name="connsiteY11" fmla="*/ 34696 h 69372"/>
                    <a:gd name="connsiteX12" fmla="*/ 260012 w 294666"/>
                    <a:gd name="connsiteY12" fmla="*/ 34696 h 69372"/>
                    <a:gd name="connsiteX13" fmla="*/ 294666 w 294666"/>
                    <a:gd name="connsiteY13" fmla="*/ 0 h 69372"/>
                    <a:gd name="connsiteX14" fmla="*/ 0 w 294666"/>
                    <a:gd name="connsiteY14" fmla="*/ 0 h 69372"/>
                    <a:gd name="connsiteX15" fmla="*/ 34654 w 294666"/>
                    <a:gd name="connsiteY15" fmla="*/ 34696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666" h="69372">
                      <a:moveTo>
                        <a:pt x="34654" y="34696"/>
                      </a:moveTo>
                      <a:lnTo>
                        <a:pt x="138659" y="34696"/>
                      </a:lnTo>
                      <a:lnTo>
                        <a:pt x="138659" y="52003"/>
                      </a:lnTo>
                      <a:lnTo>
                        <a:pt x="95351" y="52003"/>
                      </a:lnTo>
                      <a:cubicBezTo>
                        <a:pt x="90561" y="51671"/>
                        <a:pt x="86408" y="55285"/>
                        <a:pt x="86076" y="60075"/>
                      </a:cubicBezTo>
                      <a:cubicBezTo>
                        <a:pt x="85744" y="64866"/>
                        <a:pt x="89359" y="69019"/>
                        <a:pt x="94149" y="69351"/>
                      </a:cubicBezTo>
                      <a:cubicBezTo>
                        <a:pt x="94549" y="69380"/>
                        <a:pt x="94951" y="69380"/>
                        <a:pt x="95351" y="69351"/>
                      </a:cubicBezTo>
                      <a:lnTo>
                        <a:pt x="199356" y="69351"/>
                      </a:lnTo>
                      <a:cubicBezTo>
                        <a:pt x="204147" y="69019"/>
                        <a:pt x="207761" y="64866"/>
                        <a:pt x="207429" y="60075"/>
                      </a:cubicBezTo>
                      <a:cubicBezTo>
                        <a:pt x="207129" y="55747"/>
                        <a:pt x="203684" y="52302"/>
                        <a:pt x="199356" y="52003"/>
                      </a:cubicBezTo>
                      <a:lnTo>
                        <a:pt x="156007" y="52003"/>
                      </a:lnTo>
                      <a:lnTo>
                        <a:pt x="156007" y="34696"/>
                      </a:lnTo>
                      <a:lnTo>
                        <a:pt x="260012" y="34696"/>
                      </a:lnTo>
                      <a:cubicBezTo>
                        <a:pt x="279157" y="34673"/>
                        <a:pt x="294666" y="19146"/>
                        <a:pt x="294666" y="0"/>
                      </a:cubicBezTo>
                      <a:lnTo>
                        <a:pt x="0" y="0"/>
                      </a:lnTo>
                      <a:cubicBezTo>
                        <a:pt x="23" y="19137"/>
                        <a:pt x="15518" y="34650"/>
                        <a:pt x="34654" y="34696"/>
                      </a:cubicBezTo>
                      <a:close/>
                    </a:path>
                  </a:pathLst>
                </a:custGeom>
                <a:solidFill>
                  <a:srgbClr val="13284C"/>
                </a:solidFill>
                <a:ln w="4068" cap="flat">
                  <a:noFill/>
                  <a:prstDash val="solid"/>
                  <a:miter/>
                </a:ln>
              </p:spPr>
              <p:txBody>
                <a:bodyPr rtlCol="0" anchor="ctr"/>
                <a:lstStyle/>
                <a:p>
                  <a:endParaRPr lang="en-US"/>
                </a:p>
              </p:txBody>
            </p:sp>
          </p:grpSp>
        </p:grpSp>
        <p:grpSp>
          <p:nvGrpSpPr>
            <p:cNvPr id="84" name="Group 83">
              <a:extLst>
                <a:ext uri="{FF2B5EF4-FFF2-40B4-BE49-F238E27FC236}">
                  <a16:creationId xmlns:a16="http://schemas.microsoft.com/office/drawing/2014/main" id="{1DD4BFE6-1DFB-48FD-96DE-123BB554B144}"/>
                </a:ext>
              </a:extLst>
            </p:cNvPr>
            <p:cNvGrpSpPr/>
            <p:nvPr/>
          </p:nvGrpSpPr>
          <p:grpSpPr>
            <a:xfrm>
              <a:off x="8028364" y="2598815"/>
              <a:ext cx="110559" cy="95054"/>
              <a:chOff x="8508997" y="2197927"/>
              <a:chExt cx="201438" cy="173188"/>
            </a:xfrm>
          </p:grpSpPr>
          <p:sp>
            <p:nvSpPr>
              <p:cNvPr id="85" name="Rectangle: Rounded Corners 84">
                <a:extLst>
                  <a:ext uri="{FF2B5EF4-FFF2-40B4-BE49-F238E27FC236}">
                    <a16:creationId xmlns:a16="http://schemas.microsoft.com/office/drawing/2014/main" id="{94F06D94-A394-481C-BBB3-FB4999167052}"/>
                  </a:ext>
                </a:extLst>
              </p:cNvPr>
              <p:cNvSpPr/>
              <p:nvPr/>
            </p:nvSpPr>
            <p:spPr>
              <a:xfrm>
                <a:off x="8508997" y="2197927"/>
                <a:ext cx="201438" cy="127389"/>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6" name="Group 85">
                <a:extLst>
                  <a:ext uri="{FF2B5EF4-FFF2-40B4-BE49-F238E27FC236}">
                    <a16:creationId xmlns:a16="http://schemas.microsoft.com/office/drawing/2014/main" id="{10D70031-BA88-4847-82DF-278539B155FD}"/>
                  </a:ext>
                </a:extLst>
              </p:cNvPr>
              <p:cNvGrpSpPr/>
              <p:nvPr/>
            </p:nvGrpSpPr>
            <p:grpSpPr>
              <a:xfrm>
                <a:off x="8508997" y="2197927"/>
                <a:ext cx="201438" cy="173188"/>
                <a:chOff x="8111652" y="1972042"/>
                <a:chExt cx="413960" cy="355906"/>
              </a:xfrm>
            </p:grpSpPr>
            <p:sp>
              <p:nvSpPr>
                <p:cNvPr id="87" name="Freeform: Shape 86">
                  <a:extLst>
                    <a:ext uri="{FF2B5EF4-FFF2-40B4-BE49-F238E27FC236}">
                      <a16:creationId xmlns:a16="http://schemas.microsoft.com/office/drawing/2014/main" id="{0DD00A7C-8C6E-478B-8D2B-D6B5FB677D14}"/>
                    </a:ext>
                  </a:extLst>
                </p:cNvPr>
                <p:cNvSpPr/>
                <p:nvPr/>
              </p:nvSpPr>
              <p:spPr>
                <a:xfrm>
                  <a:off x="8111653" y="1972042"/>
                  <a:ext cx="413959" cy="241453"/>
                </a:xfrm>
                <a:custGeom>
                  <a:avLst/>
                  <a:gdLst>
                    <a:gd name="connsiteX0" fmla="*/ 379471 w 413959"/>
                    <a:gd name="connsiteY0" fmla="*/ 0 h 241453"/>
                    <a:gd name="connsiteX1" fmla="*/ 34490 w 413959"/>
                    <a:gd name="connsiteY1" fmla="*/ 0 h 241453"/>
                    <a:gd name="connsiteX2" fmla="*/ 8 w 413959"/>
                    <a:gd name="connsiteY2" fmla="*/ 36013 h 241453"/>
                    <a:gd name="connsiteX3" fmla="*/ 8 w 413959"/>
                    <a:gd name="connsiteY3" fmla="*/ 241453 h 241453"/>
                    <a:gd name="connsiteX4" fmla="*/ 413952 w 413959"/>
                    <a:gd name="connsiteY4" fmla="*/ 241453 h 241453"/>
                    <a:gd name="connsiteX5" fmla="*/ 413952 w 413959"/>
                    <a:gd name="connsiteY5" fmla="*/ 36013 h 241453"/>
                    <a:gd name="connsiteX6" fmla="*/ 379471 w 413959"/>
                    <a:gd name="connsiteY6" fmla="*/ 0 h 24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959" h="241453">
                      <a:moveTo>
                        <a:pt x="379471" y="0"/>
                      </a:moveTo>
                      <a:lnTo>
                        <a:pt x="34490" y="0"/>
                      </a:lnTo>
                      <a:cubicBezTo>
                        <a:pt x="15026" y="430"/>
                        <a:pt x="-408" y="16549"/>
                        <a:pt x="8" y="36013"/>
                      </a:cubicBezTo>
                      <a:lnTo>
                        <a:pt x="8" y="241453"/>
                      </a:lnTo>
                      <a:lnTo>
                        <a:pt x="413952" y="241453"/>
                      </a:lnTo>
                      <a:lnTo>
                        <a:pt x="413952" y="36013"/>
                      </a:lnTo>
                      <a:cubicBezTo>
                        <a:pt x="414345" y="16558"/>
                        <a:pt x="398924" y="452"/>
                        <a:pt x="379471" y="0"/>
                      </a:cubicBezTo>
                      <a:close/>
                    </a:path>
                  </a:pathLst>
                </a:custGeom>
                <a:solidFill>
                  <a:srgbClr val="D9D9D9"/>
                </a:solidFill>
                <a:ln w="4096"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7C13DC53-940A-4ECD-A646-A75EF8AF7A5C}"/>
                    </a:ext>
                  </a:extLst>
                </p:cNvPr>
                <p:cNvSpPr/>
                <p:nvPr/>
              </p:nvSpPr>
              <p:spPr>
                <a:xfrm>
                  <a:off x="8111652" y="2230491"/>
                  <a:ext cx="413959" cy="97457"/>
                </a:xfrm>
                <a:custGeom>
                  <a:avLst/>
                  <a:gdLst>
                    <a:gd name="connsiteX0" fmla="*/ 34654 w 294666"/>
                    <a:gd name="connsiteY0" fmla="*/ 34696 h 69372"/>
                    <a:gd name="connsiteX1" fmla="*/ 138659 w 294666"/>
                    <a:gd name="connsiteY1" fmla="*/ 34696 h 69372"/>
                    <a:gd name="connsiteX2" fmla="*/ 138659 w 294666"/>
                    <a:gd name="connsiteY2" fmla="*/ 52003 h 69372"/>
                    <a:gd name="connsiteX3" fmla="*/ 95351 w 294666"/>
                    <a:gd name="connsiteY3" fmla="*/ 52003 h 69372"/>
                    <a:gd name="connsiteX4" fmla="*/ 86076 w 294666"/>
                    <a:gd name="connsiteY4" fmla="*/ 60075 h 69372"/>
                    <a:gd name="connsiteX5" fmla="*/ 94149 w 294666"/>
                    <a:gd name="connsiteY5" fmla="*/ 69351 h 69372"/>
                    <a:gd name="connsiteX6" fmla="*/ 95351 w 294666"/>
                    <a:gd name="connsiteY6" fmla="*/ 69351 h 69372"/>
                    <a:gd name="connsiteX7" fmla="*/ 199356 w 294666"/>
                    <a:gd name="connsiteY7" fmla="*/ 69351 h 69372"/>
                    <a:gd name="connsiteX8" fmla="*/ 207429 w 294666"/>
                    <a:gd name="connsiteY8" fmla="*/ 60075 h 69372"/>
                    <a:gd name="connsiteX9" fmla="*/ 199356 w 294666"/>
                    <a:gd name="connsiteY9" fmla="*/ 52003 h 69372"/>
                    <a:gd name="connsiteX10" fmla="*/ 156007 w 294666"/>
                    <a:gd name="connsiteY10" fmla="*/ 52003 h 69372"/>
                    <a:gd name="connsiteX11" fmla="*/ 156007 w 294666"/>
                    <a:gd name="connsiteY11" fmla="*/ 34696 h 69372"/>
                    <a:gd name="connsiteX12" fmla="*/ 260012 w 294666"/>
                    <a:gd name="connsiteY12" fmla="*/ 34696 h 69372"/>
                    <a:gd name="connsiteX13" fmla="*/ 294666 w 294666"/>
                    <a:gd name="connsiteY13" fmla="*/ 0 h 69372"/>
                    <a:gd name="connsiteX14" fmla="*/ 0 w 294666"/>
                    <a:gd name="connsiteY14" fmla="*/ 0 h 69372"/>
                    <a:gd name="connsiteX15" fmla="*/ 34654 w 294666"/>
                    <a:gd name="connsiteY15" fmla="*/ 34696 h 6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666" h="69372">
                      <a:moveTo>
                        <a:pt x="34654" y="34696"/>
                      </a:moveTo>
                      <a:lnTo>
                        <a:pt x="138659" y="34696"/>
                      </a:lnTo>
                      <a:lnTo>
                        <a:pt x="138659" y="52003"/>
                      </a:lnTo>
                      <a:lnTo>
                        <a:pt x="95351" y="52003"/>
                      </a:lnTo>
                      <a:cubicBezTo>
                        <a:pt x="90561" y="51671"/>
                        <a:pt x="86408" y="55285"/>
                        <a:pt x="86076" y="60075"/>
                      </a:cubicBezTo>
                      <a:cubicBezTo>
                        <a:pt x="85744" y="64866"/>
                        <a:pt x="89359" y="69019"/>
                        <a:pt x="94149" y="69351"/>
                      </a:cubicBezTo>
                      <a:cubicBezTo>
                        <a:pt x="94549" y="69380"/>
                        <a:pt x="94951" y="69380"/>
                        <a:pt x="95351" y="69351"/>
                      </a:cubicBezTo>
                      <a:lnTo>
                        <a:pt x="199356" y="69351"/>
                      </a:lnTo>
                      <a:cubicBezTo>
                        <a:pt x="204147" y="69019"/>
                        <a:pt x="207761" y="64866"/>
                        <a:pt x="207429" y="60075"/>
                      </a:cubicBezTo>
                      <a:cubicBezTo>
                        <a:pt x="207129" y="55747"/>
                        <a:pt x="203684" y="52302"/>
                        <a:pt x="199356" y="52003"/>
                      </a:cubicBezTo>
                      <a:lnTo>
                        <a:pt x="156007" y="52003"/>
                      </a:lnTo>
                      <a:lnTo>
                        <a:pt x="156007" y="34696"/>
                      </a:lnTo>
                      <a:lnTo>
                        <a:pt x="260012" y="34696"/>
                      </a:lnTo>
                      <a:cubicBezTo>
                        <a:pt x="279157" y="34673"/>
                        <a:pt x="294666" y="19146"/>
                        <a:pt x="294666" y="0"/>
                      </a:cubicBezTo>
                      <a:lnTo>
                        <a:pt x="0" y="0"/>
                      </a:lnTo>
                      <a:cubicBezTo>
                        <a:pt x="23" y="19137"/>
                        <a:pt x="15518" y="34650"/>
                        <a:pt x="34654" y="34696"/>
                      </a:cubicBezTo>
                      <a:close/>
                    </a:path>
                  </a:pathLst>
                </a:custGeom>
                <a:solidFill>
                  <a:srgbClr val="13284C"/>
                </a:solidFill>
                <a:ln w="4068" cap="flat">
                  <a:noFill/>
                  <a:prstDash val="solid"/>
                  <a:miter/>
                </a:ln>
              </p:spPr>
              <p:txBody>
                <a:bodyPr rtlCol="0" anchor="ctr"/>
                <a:lstStyle/>
                <a:p>
                  <a:endParaRPr lang="en-US"/>
                </a:p>
              </p:txBody>
            </p:sp>
          </p:grpSp>
        </p:grpSp>
      </p:grpSp>
      <p:pic>
        <p:nvPicPr>
          <p:cNvPr id="91" name="Graphic 90">
            <a:extLst>
              <a:ext uri="{FF2B5EF4-FFF2-40B4-BE49-F238E27FC236}">
                <a16:creationId xmlns:a16="http://schemas.microsoft.com/office/drawing/2014/main" id="{2BF7BF7D-AEF3-40B8-9097-3A45B22088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9549" y="2738637"/>
            <a:ext cx="509952" cy="509952"/>
          </a:xfrm>
          <a:prstGeom prst="rect">
            <a:avLst/>
          </a:prstGeom>
        </p:spPr>
      </p:pic>
      <p:pic>
        <p:nvPicPr>
          <p:cNvPr id="93" name="Graphic 92">
            <a:extLst>
              <a:ext uri="{FF2B5EF4-FFF2-40B4-BE49-F238E27FC236}">
                <a16:creationId xmlns:a16="http://schemas.microsoft.com/office/drawing/2014/main" id="{FB00842C-0DB8-4192-B7AF-979229E3DE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19549" y="3631059"/>
            <a:ext cx="562804" cy="465252"/>
          </a:xfrm>
          <a:prstGeom prst="rect">
            <a:avLst/>
          </a:prstGeom>
        </p:spPr>
      </p:pic>
      <p:grpSp>
        <p:nvGrpSpPr>
          <p:cNvPr id="104" name="Group 103">
            <a:extLst>
              <a:ext uri="{FF2B5EF4-FFF2-40B4-BE49-F238E27FC236}">
                <a16:creationId xmlns:a16="http://schemas.microsoft.com/office/drawing/2014/main" id="{55D732B0-3270-4B4B-B10A-C6269620824B}"/>
              </a:ext>
            </a:extLst>
          </p:cNvPr>
          <p:cNvGrpSpPr/>
          <p:nvPr/>
        </p:nvGrpSpPr>
        <p:grpSpPr>
          <a:xfrm>
            <a:off x="534285" y="3664037"/>
            <a:ext cx="562804" cy="432274"/>
            <a:chOff x="3241586" y="3631044"/>
            <a:chExt cx="562804" cy="432274"/>
          </a:xfrm>
        </p:grpSpPr>
        <p:sp>
          <p:nvSpPr>
            <p:cNvPr id="98" name="Freeform: Shape 97">
              <a:extLst>
                <a:ext uri="{FF2B5EF4-FFF2-40B4-BE49-F238E27FC236}">
                  <a16:creationId xmlns:a16="http://schemas.microsoft.com/office/drawing/2014/main" id="{09C1404C-8607-4B62-9BF5-0AA5FFD7A0E7}"/>
                </a:ext>
              </a:extLst>
            </p:cNvPr>
            <p:cNvSpPr/>
            <p:nvPr/>
          </p:nvSpPr>
          <p:spPr>
            <a:xfrm>
              <a:off x="3378147" y="3778252"/>
              <a:ext cx="285544" cy="285066"/>
            </a:xfrm>
            <a:custGeom>
              <a:avLst/>
              <a:gdLst>
                <a:gd name="connsiteX0" fmla="*/ 189743 w 190610"/>
                <a:gd name="connsiteY0" fmla="*/ 177811 h 190291"/>
                <a:gd name="connsiteX1" fmla="*/ 103294 w 190610"/>
                <a:gd name="connsiteY1" fmla="*/ 4414 h 190291"/>
                <a:gd name="connsiteX2" fmla="*/ 90920 w 190610"/>
                <a:gd name="connsiteY2" fmla="*/ 1270 h 190291"/>
                <a:gd name="connsiteX3" fmla="*/ 87776 w 190610"/>
                <a:gd name="connsiteY3" fmla="*/ 4414 h 190291"/>
                <a:gd name="connsiteX4" fmla="*/ 870 w 190610"/>
                <a:gd name="connsiteY4" fmla="*/ 177811 h 190291"/>
                <a:gd name="connsiteX5" fmla="*/ 4911 w 190610"/>
                <a:gd name="connsiteY5" fmla="*/ 189424 h 190291"/>
                <a:gd name="connsiteX6" fmla="*/ 8649 w 190610"/>
                <a:gd name="connsiteY6" fmla="*/ 190292 h 190291"/>
                <a:gd name="connsiteX7" fmla="*/ 182005 w 190610"/>
                <a:gd name="connsiteY7" fmla="*/ 190292 h 190291"/>
                <a:gd name="connsiteX8" fmla="*/ 190610 w 190610"/>
                <a:gd name="connsiteY8" fmla="*/ 181508 h 190291"/>
                <a:gd name="connsiteX9" fmla="*/ 189743 w 190610"/>
                <a:gd name="connsiteY9" fmla="*/ 177811 h 190291"/>
                <a:gd name="connsiteX10" fmla="*/ 95306 w 190610"/>
                <a:gd name="connsiteY10" fmla="*/ 155720 h 190291"/>
                <a:gd name="connsiteX11" fmla="*/ 86611 w 190610"/>
                <a:gd name="connsiteY11" fmla="*/ 147025 h 190291"/>
                <a:gd name="connsiteX12" fmla="*/ 95306 w 190610"/>
                <a:gd name="connsiteY12" fmla="*/ 138331 h 190291"/>
                <a:gd name="connsiteX13" fmla="*/ 104001 w 190610"/>
                <a:gd name="connsiteY13" fmla="*/ 147025 h 190291"/>
                <a:gd name="connsiteX14" fmla="*/ 95306 w 190610"/>
                <a:gd name="connsiteY14" fmla="*/ 155637 h 190291"/>
                <a:gd name="connsiteX15" fmla="*/ 95306 w 190610"/>
                <a:gd name="connsiteY15" fmla="*/ 155637 h 190291"/>
                <a:gd name="connsiteX16" fmla="*/ 104001 w 190610"/>
                <a:gd name="connsiteY16" fmla="*/ 121024 h 190291"/>
                <a:gd name="connsiteX17" fmla="*/ 95928 w 190610"/>
                <a:gd name="connsiteY17" fmla="*/ 130299 h 190291"/>
                <a:gd name="connsiteX18" fmla="*/ 86653 w 190610"/>
                <a:gd name="connsiteY18" fmla="*/ 122226 h 190291"/>
                <a:gd name="connsiteX19" fmla="*/ 86653 w 190610"/>
                <a:gd name="connsiteY19" fmla="*/ 121024 h 190291"/>
                <a:gd name="connsiteX20" fmla="*/ 86653 w 190610"/>
                <a:gd name="connsiteY20" fmla="*/ 68938 h 190291"/>
                <a:gd name="connsiteX21" fmla="*/ 95928 w 190610"/>
                <a:gd name="connsiteY21" fmla="*/ 60866 h 190291"/>
                <a:gd name="connsiteX22" fmla="*/ 104001 w 190610"/>
                <a:gd name="connsiteY22" fmla="*/ 68938 h 1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610" h="190291">
                  <a:moveTo>
                    <a:pt x="189743" y="177811"/>
                  </a:moveTo>
                  <a:lnTo>
                    <a:pt x="103294" y="4414"/>
                  </a:lnTo>
                  <a:cubicBezTo>
                    <a:pt x="100745" y="129"/>
                    <a:pt x="95205" y="-1279"/>
                    <a:pt x="90920" y="1270"/>
                  </a:cubicBezTo>
                  <a:cubicBezTo>
                    <a:pt x="89626" y="2040"/>
                    <a:pt x="88546" y="3120"/>
                    <a:pt x="87776" y="4414"/>
                  </a:cubicBezTo>
                  <a:lnTo>
                    <a:pt x="870" y="177811"/>
                  </a:lnTo>
                  <a:cubicBezTo>
                    <a:pt x="-1221" y="182134"/>
                    <a:pt x="588" y="187333"/>
                    <a:pt x="4911" y="189424"/>
                  </a:cubicBezTo>
                  <a:cubicBezTo>
                    <a:pt x="6077" y="189988"/>
                    <a:pt x="7354" y="190284"/>
                    <a:pt x="8649" y="190292"/>
                  </a:cubicBezTo>
                  <a:lnTo>
                    <a:pt x="182005" y="190292"/>
                  </a:lnTo>
                  <a:cubicBezTo>
                    <a:pt x="186806" y="190242"/>
                    <a:pt x="190658" y="186310"/>
                    <a:pt x="190610" y="181508"/>
                  </a:cubicBezTo>
                  <a:cubicBezTo>
                    <a:pt x="190597" y="180227"/>
                    <a:pt x="190301" y="178964"/>
                    <a:pt x="189743" y="177811"/>
                  </a:cubicBezTo>
                  <a:close/>
                  <a:moveTo>
                    <a:pt x="95306" y="155720"/>
                  </a:moveTo>
                  <a:cubicBezTo>
                    <a:pt x="90504" y="155720"/>
                    <a:pt x="86611" y="151828"/>
                    <a:pt x="86611" y="147025"/>
                  </a:cubicBezTo>
                  <a:cubicBezTo>
                    <a:pt x="86611" y="142223"/>
                    <a:pt x="90504" y="138331"/>
                    <a:pt x="95306" y="138331"/>
                  </a:cubicBezTo>
                  <a:cubicBezTo>
                    <a:pt x="100108" y="138331"/>
                    <a:pt x="104001" y="142223"/>
                    <a:pt x="104001" y="147025"/>
                  </a:cubicBezTo>
                  <a:cubicBezTo>
                    <a:pt x="103978" y="151804"/>
                    <a:pt x="100085" y="155660"/>
                    <a:pt x="95306" y="155637"/>
                  </a:cubicBezTo>
                  <a:cubicBezTo>
                    <a:pt x="95306" y="155637"/>
                    <a:pt x="95306" y="155637"/>
                    <a:pt x="95306" y="155637"/>
                  </a:cubicBezTo>
                  <a:close/>
                  <a:moveTo>
                    <a:pt x="104001" y="121024"/>
                  </a:moveTo>
                  <a:cubicBezTo>
                    <a:pt x="104333" y="125815"/>
                    <a:pt x="100718" y="129967"/>
                    <a:pt x="95928" y="130299"/>
                  </a:cubicBezTo>
                  <a:cubicBezTo>
                    <a:pt x="91138" y="130631"/>
                    <a:pt x="86985" y="127017"/>
                    <a:pt x="86653" y="122226"/>
                  </a:cubicBezTo>
                  <a:cubicBezTo>
                    <a:pt x="86625" y="121826"/>
                    <a:pt x="86625" y="121424"/>
                    <a:pt x="86653" y="121024"/>
                  </a:cubicBezTo>
                  <a:lnTo>
                    <a:pt x="86653" y="68938"/>
                  </a:lnTo>
                  <a:cubicBezTo>
                    <a:pt x="86985" y="64148"/>
                    <a:pt x="91138" y="60534"/>
                    <a:pt x="95928" y="60866"/>
                  </a:cubicBezTo>
                  <a:cubicBezTo>
                    <a:pt x="100256" y="61166"/>
                    <a:pt x="103701" y="64610"/>
                    <a:pt x="104001" y="68938"/>
                  </a:cubicBezTo>
                  <a:close/>
                </a:path>
              </a:pathLst>
            </a:custGeom>
            <a:solidFill>
              <a:srgbClr val="FBAB2A"/>
            </a:solidFill>
            <a:ln w="4096"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88300F3D-C1DE-4DE1-B037-BAC638BEFDF6}"/>
                </a:ext>
              </a:extLst>
            </p:cNvPr>
            <p:cNvSpPr/>
            <p:nvPr/>
          </p:nvSpPr>
          <p:spPr>
            <a:xfrm>
              <a:off x="3241586" y="3631044"/>
              <a:ext cx="562804" cy="349681"/>
            </a:xfrm>
            <a:custGeom>
              <a:avLst/>
              <a:gdLst>
                <a:gd name="connsiteX0" fmla="*/ 104625 w 562804"/>
                <a:gd name="connsiteY0" fmla="*/ 349682 h 349681"/>
                <a:gd name="connsiteX1" fmla="*/ 26283 w 562804"/>
                <a:gd name="connsiteY1" fmla="*/ 319861 h 349681"/>
                <a:gd name="connsiteX2" fmla="*/ 0 w 562804"/>
                <a:gd name="connsiteY2" fmla="*/ 251026 h 349681"/>
                <a:gd name="connsiteX3" fmla="*/ 99031 w 562804"/>
                <a:gd name="connsiteY3" fmla="*/ 152348 h 349681"/>
                <a:gd name="connsiteX4" fmla="*/ 107496 w 562804"/>
                <a:gd name="connsiteY4" fmla="*/ 152706 h 349681"/>
                <a:gd name="connsiteX5" fmla="*/ 303326 w 562804"/>
                <a:gd name="connsiteY5" fmla="*/ 1394 h 349681"/>
                <a:gd name="connsiteX6" fmla="*/ 436792 w 562804"/>
                <a:gd name="connsiteY6" fmla="*/ 93905 h 349681"/>
                <a:gd name="connsiteX7" fmla="*/ 562804 w 562804"/>
                <a:gd name="connsiteY7" fmla="*/ 221709 h 349681"/>
                <a:gd name="connsiteX8" fmla="*/ 455871 w 562804"/>
                <a:gd name="connsiteY8" fmla="*/ 348000 h 349681"/>
                <a:gd name="connsiteX9" fmla="*/ 442933 w 562804"/>
                <a:gd name="connsiteY9" fmla="*/ 339900 h 349681"/>
                <a:gd name="connsiteX10" fmla="*/ 442927 w 562804"/>
                <a:gd name="connsiteY10" fmla="*/ 339872 h 349681"/>
                <a:gd name="connsiteX11" fmla="*/ 451087 w 562804"/>
                <a:gd name="connsiteY11" fmla="*/ 326980 h 349681"/>
                <a:gd name="connsiteX12" fmla="*/ 541136 w 562804"/>
                <a:gd name="connsiteY12" fmla="*/ 221709 h 349681"/>
                <a:gd name="connsiteX13" fmla="*/ 434731 w 562804"/>
                <a:gd name="connsiteY13" fmla="*/ 115466 h 349681"/>
                <a:gd name="connsiteX14" fmla="*/ 430545 w 562804"/>
                <a:gd name="connsiteY14" fmla="*/ 115542 h 349681"/>
                <a:gd name="connsiteX15" fmla="*/ 420358 w 562804"/>
                <a:gd name="connsiteY15" fmla="*/ 109376 h 349681"/>
                <a:gd name="connsiteX16" fmla="*/ 215842 w 562804"/>
                <a:gd name="connsiteY16" fmla="*/ 36277 h 349681"/>
                <a:gd name="connsiteX17" fmla="*/ 128038 w 562804"/>
                <a:gd name="connsiteY17" fmla="*/ 165431 h 349681"/>
                <a:gd name="connsiteX18" fmla="*/ 123817 w 562804"/>
                <a:gd name="connsiteY18" fmla="*/ 173783 h 349681"/>
                <a:gd name="connsiteX19" fmla="*/ 115037 w 562804"/>
                <a:gd name="connsiteY19" fmla="*/ 175745 h 349681"/>
                <a:gd name="connsiteX20" fmla="*/ 23323 w 562804"/>
                <a:gd name="connsiteY20" fmla="*/ 235363 h 349681"/>
                <a:gd name="connsiteX21" fmla="*/ 21668 w 562804"/>
                <a:gd name="connsiteY21" fmla="*/ 251026 h 349681"/>
                <a:gd name="connsiteX22" fmla="*/ 41366 w 562804"/>
                <a:gd name="connsiteY22" fmla="*/ 304390 h 349681"/>
                <a:gd name="connsiteX23" fmla="*/ 104794 w 562804"/>
                <a:gd name="connsiteY23" fmla="*/ 328101 h 349681"/>
                <a:gd name="connsiteX24" fmla="*/ 104794 w 562804"/>
                <a:gd name="connsiteY24" fmla="*/ 328101 h 349681"/>
                <a:gd name="connsiteX25" fmla="*/ 114847 w 562804"/>
                <a:gd name="connsiteY25" fmla="*/ 339669 h 349681"/>
                <a:gd name="connsiteX26" fmla="*/ 104794 w 562804"/>
                <a:gd name="connsiteY26" fmla="*/ 349682 h 34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2804" h="349681">
                  <a:moveTo>
                    <a:pt x="104625" y="349682"/>
                  </a:moveTo>
                  <a:cubicBezTo>
                    <a:pt x="99279" y="349682"/>
                    <a:pt x="55718" y="348729"/>
                    <a:pt x="26283" y="319861"/>
                  </a:cubicBezTo>
                  <a:cubicBezTo>
                    <a:pt x="8836" y="302708"/>
                    <a:pt x="0" y="279558"/>
                    <a:pt x="0" y="251026"/>
                  </a:cubicBezTo>
                  <a:cubicBezTo>
                    <a:pt x="-13" y="196540"/>
                    <a:pt x="44325" y="152360"/>
                    <a:pt x="99031" y="152348"/>
                  </a:cubicBezTo>
                  <a:cubicBezTo>
                    <a:pt x="101856" y="152347"/>
                    <a:pt x="104680" y="152467"/>
                    <a:pt x="107496" y="152706"/>
                  </a:cubicBezTo>
                  <a:cubicBezTo>
                    <a:pt x="119621" y="57062"/>
                    <a:pt x="207296" y="-10683"/>
                    <a:pt x="303326" y="1394"/>
                  </a:cubicBezTo>
                  <a:cubicBezTo>
                    <a:pt x="360355" y="8565"/>
                    <a:pt x="410228" y="43134"/>
                    <a:pt x="436792" y="93905"/>
                  </a:cubicBezTo>
                  <a:cubicBezTo>
                    <a:pt x="506771" y="95129"/>
                    <a:pt x="562843" y="152001"/>
                    <a:pt x="562804" y="221709"/>
                  </a:cubicBezTo>
                  <a:cubicBezTo>
                    <a:pt x="562804" y="316554"/>
                    <a:pt x="480972" y="342395"/>
                    <a:pt x="455871" y="348000"/>
                  </a:cubicBezTo>
                  <a:cubicBezTo>
                    <a:pt x="450053" y="349322"/>
                    <a:pt x="444260" y="345695"/>
                    <a:pt x="442933" y="339900"/>
                  </a:cubicBezTo>
                  <a:cubicBezTo>
                    <a:pt x="442931" y="339891"/>
                    <a:pt x="442929" y="339882"/>
                    <a:pt x="442927" y="339872"/>
                  </a:cubicBezTo>
                  <a:cubicBezTo>
                    <a:pt x="441663" y="334077"/>
                    <a:pt x="445293" y="328342"/>
                    <a:pt x="451087" y="326980"/>
                  </a:cubicBezTo>
                  <a:cubicBezTo>
                    <a:pt x="532356" y="308706"/>
                    <a:pt x="541136" y="247270"/>
                    <a:pt x="541136" y="221709"/>
                  </a:cubicBezTo>
                  <a:cubicBezTo>
                    <a:pt x="541210" y="163106"/>
                    <a:pt x="493571" y="115539"/>
                    <a:pt x="434731" y="115466"/>
                  </a:cubicBezTo>
                  <a:cubicBezTo>
                    <a:pt x="433335" y="115464"/>
                    <a:pt x="431940" y="115490"/>
                    <a:pt x="430545" y="115542"/>
                  </a:cubicBezTo>
                  <a:cubicBezTo>
                    <a:pt x="426204" y="115753"/>
                    <a:pt x="422170" y="113311"/>
                    <a:pt x="420358" y="109376"/>
                  </a:cubicBezTo>
                  <a:cubicBezTo>
                    <a:pt x="384150" y="32941"/>
                    <a:pt x="292584" y="214"/>
                    <a:pt x="215842" y="36277"/>
                  </a:cubicBezTo>
                  <a:cubicBezTo>
                    <a:pt x="165088" y="60127"/>
                    <a:pt x="131428" y="109639"/>
                    <a:pt x="128038" y="165431"/>
                  </a:cubicBezTo>
                  <a:cubicBezTo>
                    <a:pt x="127974" y="168708"/>
                    <a:pt x="126422" y="171780"/>
                    <a:pt x="123817" y="173783"/>
                  </a:cubicBezTo>
                  <a:cubicBezTo>
                    <a:pt x="121319" y="175684"/>
                    <a:pt x="118111" y="176401"/>
                    <a:pt x="115037" y="175745"/>
                  </a:cubicBezTo>
                  <a:cubicBezTo>
                    <a:pt x="73181" y="166984"/>
                    <a:pt x="32120" y="193676"/>
                    <a:pt x="23323" y="235363"/>
                  </a:cubicBezTo>
                  <a:cubicBezTo>
                    <a:pt x="22236" y="240514"/>
                    <a:pt x="21682" y="245762"/>
                    <a:pt x="21668" y="251026"/>
                  </a:cubicBezTo>
                  <a:cubicBezTo>
                    <a:pt x="21668" y="273448"/>
                    <a:pt x="28309" y="291497"/>
                    <a:pt x="41366" y="304390"/>
                  </a:cubicBezTo>
                  <a:cubicBezTo>
                    <a:pt x="65567" y="328213"/>
                    <a:pt x="104231" y="328045"/>
                    <a:pt x="104794" y="328101"/>
                  </a:cubicBezTo>
                  <a:lnTo>
                    <a:pt x="104794" y="328101"/>
                  </a:lnTo>
                  <a:cubicBezTo>
                    <a:pt x="110777" y="328531"/>
                    <a:pt x="115278" y="333710"/>
                    <a:pt x="114847" y="339669"/>
                  </a:cubicBezTo>
                  <a:cubicBezTo>
                    <a:pt x="114459" y="345031"/>
                    <a:pt x="110177" y="349295"/>
                    <a:pt x="104794" y="349682"/>
                  </a:cubicBezTo>
                  <a:close/>
                </a:path>
              </a:pathLst>
            </a:custGeom>
            <a:solidFill>
              <a:srgbClr val="13284C"/>
            </a:solidFill>
            <a:ln w="5620" cap="flat">
              <a:noFill/>
              <a:prstDash val="solid"/>
              <a:miter/>
            </a:ln>
          </p:spPr>
          <p:txBody>
            <a:bodyPr rtlCol="0" anchor="ctr"/>
            <a:lstStyle/>
            <a:p>
              <a:endParaRPr lang="en-US"/>
            </a:p>
          </p:txBody>
        </p:sp>
      </p:grpSp>
    </p:spTree>
    <p:extLst>
      <p:ext uri="{BB962C8B-B14F-4D97-AF65-F5344CB8AC3E}">
        <p14:creationId xmlns:p14="http://schemas.microsoft.com/office/powerpoint/2010/main" val="4257845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C54C978-4081-DE42-BCDC-AB0DD2D0DB57}"/>
              </a:ext>
            </a:extLst>
          </p:cNvPr>
          <p:cNvSpPr/>
          <p:nvPr/>
        </p:nvSpPr>
        <p:spPr>
          <a:xfrm>
            <a:off x="1908909" y="907544"/>
            <a:ext cx="6192104" cy="4054956"/>
          </a:xfrm>
          <a:prstGeom prst="rect">
            <a:avLst/>
          </a:prstGeom>
        </p:spPr>
        <p:txBody>
          <a:bodyPr wrap="square">
            <a:spAutoFit/>
          </a:bodyPr>
          <a:lstStyle/>
          <a:p>
            <a:pPr marL="0" marR="0" lvl="0" indent="0" algn="l" defTabSz="457189"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DBD49"/>
                </a:solidFill>
                <a:effectLst/>
                <a:uLnTx/>
                <a:uFillTx/>
                <a:latin typeface="CiscoSansTT" panose="020B0503020201020303" pitchFamily="34" charset="0"/>
                <a:ea typeface="ＭＳ Ｐゴシック" charset="0"/>
                <a:cs typeface="CiscoSansTT ExtraLight" panose="020B0303020201020303" pitchFamily="34" charset="0"/>
              </a:rPr>
              <a:t>Cisco Zero Trust for Workforce</a:t>
            </a:r>
          </a:p>
          <a:p>
            <a:pPr marL="342900" marR="0" lvl="1" indent="0" algn="l" defTabSz="457189" rtl="0" eaLnBrk="1" fontAlgn="base" latinLnBrk="0" hangingPunct="1">
              <a:lnSpc>
                <a:spcPct val="100000"/>
              </a:lnSpc>
              <a:spcBef>
                <a:spcPts val="45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Key Use Case</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CiscoSansTT ExtraLight" panose="020B0303020201020303" pitchFamily="34" charset="0"/>
              </a:rPr>
              <a:t>: Secure Remote Work</a:t>
            </a:r>
          </a:p>
          <a:p>
            <a:pPr marL="342900" marR="0" lvl="1" indent="0" algn="l" defTabSz="457189"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Lead Product</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CiscoSansTT ExtraLight" panose="020B0303020201020303" pitchFamily="34" charset="0"/>
              </a:rPr>
              <a:t>: Cisco Secure Access by Duo</a:t>
            </a:r>
          </a:p>
          <a:p>
            <a:pPr marL="342900" marR="0" lvl="1" indent="0" algn="l" defTabSz="457189"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Outcome</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CiscoSansTT ExtraLight" panose="020B0303020201020303" pitchFamily="34" charset="0"/>
              </a:rPr>
              <a:t>: Protect the workforce, Cisco ensures only the right users and secure devices can access applications.  </a:t>
            </a:r>
          </a:p>
          <a:p>
            <a:pPr marL="0" marR="0" lvl="0" indent="0" algn="l" defTabSz="457189" rtl="0" eaLnBrk="1" fontAlgn="base" latinLnBrk="0" hangingPunct="1">
              <a:lnSpc>
                <a:spcPct val="100000"/>
              </a:lnSpc>
              <a:spcBef>
                <a:spcPts val="900"/>
              </a:spcBef>
              <a:spcAft>
                <a:spcPts val="0"/>
              </a:spcAft>
              <a:buClrTx/>
              <a:buSzTx/>
              <a:buFontTx/>
              <a:buNone/>
              <a:tabLst/>
              <a:defRPr/>
            </a:pPr>
            <a:br>
              <a:rPr kumimoji="0" lang="en-US" sz="1400" b="0" i="0" u="none" strike="noStrike" kern="1200" cap="none" spc="0" normalizeH="0" baseline="0" noProof="0" dirty="0">
                <a:ln>
                  <a:noFill/>
                </a:ln>
                <a:solidFill>
                  <a:srgbClr val="6DBD49"/>
                </a:solidFill>
                <a:effectLst/>
                <a:uLnTx/>
                <a:uFillTx/>
                <a:latin typeface="CiscoSansTT" panose="020B0503020201020303" pitchFamily="34" charset="0"/>
                <a:ea typeface="ＭＳ Ｐゴシック" charset="0"/>
                <a:cs typeface="+mn-cs"/>
              </a:rPr>
            </a:br>
            <a:r>
              <a:rPr kumimoji="0" lang="en-US" sz="1400" b="0" i="0" u="none" strike="noStrike" kern="1200" cap="none" spc="0" normalizeH="0" baseline="0" noProof="0" dirty="0">
                <a:ln>
                  <a:noFill/>
                </a:ln>
                <a:solidFill>
                  <a:srgbClr val="6DBD49"/>
                </a:solidFill>
                <a:effectLst/>
                <a:uLnTx/>
                <a:uFillTx/>
                <a:latin typeface="CiscoSansTT" panose="020B0503020201020303" pitchFamily="34" charset="0"/>
                <a:ea typeface="ＭＳ Ｐゴシック" charset="0"/>
                <a:cs typeface="+mn-cs"/>
              </a:rPr>
              <a:t>Cisco Zero Trust for Workloads</a:t>
            </a:r>
          </a:p>
          <a:p>
            <a:pPr marL="342900" marR="0" lvl="1" indent="0" algn="l" defTabSz="457189" rtl="0" eaLnBrk="1" fontAlgn="base" latinLnBrk="0" hangingPunct="1">
              <a:lnSpc>
                <a:spcPct val="100000"/>
              </a:lnSpc>
              <a:spcBef>
                <a:spcPts val="45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Key Use Case</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  Secure Across Multi-Cloud</a:t>
            </a:r>
            <a:b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Lead Product</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 Cisco Secure Workload</a:t>
            </a:r>
            <a:b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Outcome</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 Protect the workloads, Cisco secures all connections within apps, across multi-cloud. </a:t>
            </a:r>
          </a:p>
          <a:p>
            <a:pPr marL="0" marR="0" lvl="0" indent="0" algn="l" defTabSz="457189"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189" rtl="0" eaLnBrk="1" fontAlgn="base" latinLnBrk="0" hangingPunct="1">
              <a:lnSpc>
                <a:spcPct val="100000"/>
              </a:lnSpc>
              <a:spcBef>
                <a:spcPts val="900"/>
              </a:spcBef>
              <a:spcAft>
                <a:spcPts val="0"/>
              </a:spcAft>
              <a:buClrTx/>
              <a:buSzTx/>
              <a:buFontTx/>
              <a:buNone/>
              <a:tabLst/>
              <a:defRPr/>
            </a:pPr>
            <a:r>
              <a:rPr kumimoji="0" lang="en-US" sz="1400" b="0" i="0" u="none" strike="noStrike" kern="1200" cap="none" spc="0" normalizeH="0" baseline="0" noProof="0" dirty="0">
                <a:ln>
                  <a:noFill/>
                </a:ln>
                <a:solidFill>
                  <a:srgbClr val="6DBD49"/>
                </a:solidFill>
                <a:effectLst/>
                <a:uLnTx/>
                <a:uFillTx/>
                <a:latin typeface="CiscoSansTT" panose="020B0503020201020303" pitchFamily="34" charset="0"/>
                <a:ea typeface="ＭＳ Ｐゴシック" charset="0"/>
                <a:cs typeface="+mn-cs"/>
              </a:rPr>
              <a:t>Cisco Zero Trust for Workplace</a:t>
            </a:r>
          </a:p>
          <a:p>
            <a:pPr marL="342900" marR="0" lvl="1" indent="0" algn="l" defTabSz="457189" rtl="0" eaLnBrk="1" fontAlgn="base" latinLnBrk="0" hangingPunct="1">
              <a:lnSpc>
                <a:spcPct val="100000"/>
              </a:lnSpc>
              <a:spcBef>
                <a:spcPts val="45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Key Use Case</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 Network Visibility and Segmentation</a:t>
            </a:r>
            <a:b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Lead Product</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 SD-Access for Workplace</a:t>
            </a:r>
          </a:p>
          <a:p>
            <a:pPr marL="342900" marR="0" lvl="1" indent="0" algn="l" defTabSz="457189"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mn-cs"/>
              </a:rPr>
              <a:t>Outcome: </a:t>
            </a:r>
            <a:r>
              <a:rPr kumimoji="0" lang="en-US" sz="12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mn-cs"/>
              </a:rPr>
              <a:t>Protect the workplace, Cisco secures all user and device connections across your network, including IoT. </a:t>
            </a:r>
          </a:p>
          <a:p>
            <a:pPr marL="0" marR="0" lvl="0" indent="0" algn="l" defTabSz="457189"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D274D"/>
              </a:solidFill>
              <a:effectLst/>
              <a:uLnTx/>
              <a:uFillTx/>
              <a:latin typeface="CiscoSansTT ExtraLight" panose="020B0303020201020303" pitchFamily="34" charset="0"/>
              <a:ea typeface="ＭＳ Ｐゴシック" charset="0"/>
              <a:cs typeface="CiscoSansTT ExtraLight" panose="020B0303020201020303" pitchFamily="34" charset="0"/>
            </a:endParaRPr>
          </a:p>
        </p:txBody>
      </p:sp>
      <p:grpSp>
        <p:nvGrpSpPr>
          <p:cNvPr id="5" name="Group 4">
            <a:extLst>
              <a:ext uri="{FF2B5EF4-FFF2-40B4-BE49-F238E27FC236}">
                <a16:creationId xmlns:a16="http://schemas.microsoft.com/office/drawing/2014/main" id="{79C1B65B-CE00-F04C-A73C-70DB273F6C51}"/>
              </a:ext>
            </a:extLst>
          </p:cNvPr>
          <p:cNvGrpSpPr/>
          <p:nvPr/>
        </p:nvGrpSpPr>
        <p:grpSpPr>
          <a:xfrm>
            <a:off x="413911" y="941309"/>
            <a:ext cx="1326385" cy="3664454"/>
            <a:chOff x="29695" y="682438"/>
            <a:chExt cx="1739901" cy="5084329"/>
          </a:xfrm>
        </p:grpSpPr>
        <p:pic>
          <p:nvPicPr>
            <p:cNvPr id="3076" name="Picture 4">
              <a:extLst>
                <a:ext uri="{FF2B5EF4-FFF2-40B4-BE49-F238E27FC236}">
                  <a16:creationId xmlns:a16="http://schemas.microsoft.com/office/drawing/2014/main" id="{4CEC6387-0F7A-3C40-8087-5D8B7C52EC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296" y="682438"/>
              <a:ext cx="1335794" cy="141437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82BA9874-6858-6B45-8044-965FE4029F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997" y="2446835"/>
              <a:ext cx="1537849" cy="1537847"/>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A1EDBAA7-D460-CE4E-8B74-AE2FA427D52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613" b="6080"/>
            <a:stretch/>
          </p:blipFill>
          <p:spPr bwMode="auto">
            <a:xfrm>
              <a:off x="29695" y="4334708"/>
              <a:ext cx="1739901" cy="1432059"/>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3">
            <a:extLst>
              <a:ext uri="{FF2B5EF4-FFF2-40B4-BE49-F238E27FC236}">
                <a16:creationId xmlns:a16="http://schemas.microsoft.com/office/drawing/2014/main" id="{D1AF3F46-4182-A143-9E33-E12BC18EEC27}"/>
              </a:ext>
            </a:extLst>
          </p:cNvPr>
          <p:cNvSpPr txBox="1">
            <a:spLocks/>
          </p:cNvSpPr>
          <p:nvPr/>
        </p:nvSpPr>
        <p:spPr>
          <a:xfrm>
            <a:off x="245298" y="313605"/>
            <a:ext cx="8345489" cy="731838"/>
          </a:xfrm>
          <a:prstGeom prst="rect">
            <a:avLst/>
          </a:prstGeom>
        </p:spPr>
        <p:txBody>
          <a:bodyPr/>
          <a:lst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D274D"/>
                </a:solidFill>
                <a:effectLst/>
                <a:uLnTx/>
                <a:uFillTx/>
                <a:latin typeface="CiscoSansTT ExtraLight"/>
              </a:rPr>
              <a:t>Outcomes, Use Cases and Lead Products</a:t>
            </a:r>
          </a:p>
        </p:txBody>
      </p:sp>
    </p:spTree>
    <p:extLst>
      <p:ext uri="{BB962C8B-B14F-4D97-AF65-F5344CB8AC3E}">
        <p14:creationId xmlns:p14="http://schemas.microsoft.com/office/powerpoint/2010/main" val="42199841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B22A3C-D7F2-43FC-B614-318E2E13935D}"/>
              </a:ext>
            </a:extLst>
          </p:cNvPr>
          <p:cNvSpPr>
            <a:spLocks noGrp="1"/>
          </p:cNvSpPr>
          <p:nvPr>
            <p:ph type="title"/>
          </p:nvPr>
        </p:nvSpPr>
        <p:spPr>
          <a:xfrm>
            <a:off x="428888" y="557338"/>
            <a:ext cx="3808797" cy="1477940"/>
          </a:xfrm>
        </p:spPr>
        <p:txBody>
          <a:bodyPr anchor="t"/>
          <a:lstStyle/>
          <a:p>
            <a:pPr lvl="0"/>
            <a:r>
              <a:rPr lang="en-US" dirty="0"/>
              <a:t>World’s Easiest </a:t>
            </a:r>
            <a:br>
              <a:rPr lang="en-US" dirty="0"/>
            </a:br>
            <a:r>
              <a:rPr lang="en-US" dirty="0"/>
              <a:t>and Most </a:t>
            </a:r>
            <a:br>
              <a:rPr lang="en-US" dirty="0"/>
            </a:br>
            <a:r>
              <a:rPr lang="en-US" dirty="0"/>
              <a:t>Secure MFA</a:t>
            </a:r>
          </a:p>
        </p:txBody>
      </p:sp>
      <p:grpSp>
        <p:nvGrpSpPr>
          <p:cNvPr id="7" name="Google Shape;1877;p245">
            <a:extLst>
              <a:ext uri="{FF2B5EF4-FFF2-40B4-BE49-F238E27FC236}">
                <a16:creationId xmlns:a16="http://schemas.microsoft.com/office/drawing/2014/main" id="{11129F64-0932-467D-B9EC-60929078710C}"/>
              </a:ext>
            </a:extLst>
          </p:cNvPr>
          <p:cNvGrpSpPr/>
          <p:nvPr/>
        </p:nvGrpSpPr>
        <p:grpSpPr>
          <a:xfrm>
            <a:off x="5424508" y="767184"/>
            <a:ext cx="2853626" cy="4376316"/>
            <a:chOff x="5509412" y="533671"/>
            <a:chExt cx="2853626" cy="4376316"/>
          </a:xfrm>
        </p:grpSpPr>
        <p:sp>
          <p:nvSpPr>
            <p:cNvPr id="8" name="Google Shape;1878;p245">
              <a:extLst>
                <a:ext uri="{FF2B5EF4-FFF2-40B4-BE49-F238E27FC236}">
                  <a16:creationId xmlns:a16="http://schemas.microsoft.com/office/drawing/2014/main" id="{B703F133-83B0-4BAE-BB9A-37164E3650EF}"/>
                </a:ext>
              </a:extLst>
            </p:cNvPr>
            <p:cNvSpPr/>
            <p:nvPr/>
          </p:nvSpPr>
          <p:spPr>
            <a:xfrm>
              <a:off x="5626738" y="797638"/>
              <a:ext cx="2736300" cy="2736300"/>
            </a:xfrm>
            <a:prstGeom prst="ellipse">
              <a:avLst/>
            </a:prstGeom>
            <a:solidFill>
              <a:srgbClr val="6EBE4A"/>
            </a:solidFill>
            <a:ln>
              <a:noFill/>
            </a:ln>
          </p:spPr>
          <p:txBody>
            <a:bodyPr spcFirstLastPara="1" wrap="square" lIns="91425" tIns="91425" rIns="91425" bIns="91425" anchor="ctr" anchorCtr="0">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D274D"/>
                </a:solidFill>
                <a:effectLst/>
                <a:uLnTx/>
                <a:uFillTx/>
                <a:latin typeface="CiscoSansTT ExtraLight" panose="020B0303020201020303" pitchFamily="34" charset="0"/>
                <a:ea typeface="ＭＳ Ｐゴシック" charset="0"/>
                <a:cs typeface="Arial" panose="020B0604020202020204" pitchFamily="34" charset="0"/>
              </a:endParaRPr>
            </a:p>
          </p:txBody>
        </p:sp>
        <p:pic>
          <p:nvPicPr>
            <p:cNvPr id="9" name="Google Shape;1879;p245">
              <a:extLst>
                <a:ext uri="{FF2B5EF4-FFF2-40B4-BE49-F238E27FC236}">
                  <a16:creationId xmlns:a16="http://schemas.microsoft.com/office/drawing/2014/main" id="{0D9A5D10-493A-4B01-A568-57EF57826933}"/>
                </a:ext>
              </a:extLst>
            </p:cNvPr>
            <p:cNvPicPr preferRelativeResize="0"/>
            <p:nvPr/>
          </p:nvPicPr>
          <p:blipFill rotWithShape="1">
            <a:blip r:embed="rId2" cstate="print">
              <a:extLst>
                <a:ext uri="{28A0092B-C50C-407E-A947-70E740481C1C}">
                  <a14:useLocalDpi xmlns:a14="http://schemas.microsoft.com/office/drawing/2010/main"/>
                </a:ext>
              </a:extLst>
            </a:blip>
            <a:srcRect t="2423" b="6778"/>
            <a:stretch/>
          </p:blipFill>
          <p:spPr>
            <a:xfrm>
              <a:off x="5509412" y="533671"/>
              <a:ext cx="2736325" cy="4376316"/>
            </a:xfrm>
            <a:prstGeom prst="rect">
              <a:avLst/>
            </a:prstGeom>
            <a:noFill/>
            <a:ln>
              <a:noFill/>
            </a:ln>
          </p:spPr>
        </p:pic>
      </p:grpSp>
      <p:sp>
        <p:nvSpPr>
          <p:cNvPr id="11" name="Google Shape;1881;p245" hidden="1">
            <a:extLst>
              <a:ext uri="{FF2B5EF4-FFF2-40B4-BE49-F238E27FC236}">
                <a16:creationId xmlns:a16="http://schemas.microsoft.com/office/drawing/2014/main" id="{7D8184A5-76BA-47C3-AF93-266F0F954A83}"/>
              </a:ext>
            </a:extLst>
          </p:cNvPr>
          <p:cNvSpPr/>
          <p:nvPr/>
        </p:nvSpPr>
        <p:spPr>
          <a:xfrm>
            <a:off x="4571619" y="1621756"/>
            <a:ext cx="4177006" cy="840726"/>
          </a:xfrm>
          <a:prstGeom prst="rect">
            <a:avLst/>
          </a:prstGeom>
          <a:solidFill>
            <a:schemeClr val="bg1"/>
          </a:solidFill>
          <a:ln>
            <a:noFill/>
          </a:ln>
        </p:spPr>
        <p:txBody>
          <a:bodyPr spcFirstLastPara="1" wrap="square" lIns="91425" tIns="91425" rIns="365750" bIns="91425" anchor="ctr" anchorCtr="0">
            <a:noAutofit/>
          </a:bodyPr>
          <a:lstStyle/>
          <a:p>
            <a:pPr marL="346067" marR="0" lvl="0" indent="0" algn="l" defTabSz="457189" rtl="0" eaLnBrk="1" fontAlgn="base" latinLnBrk="0" hangingPunct="1">
              <a:lnSpc>
                <a:spcPct val="100000"/>
              </a:lnSpc>
              <a:spcBef>
                <a:spcPct val="0"/>
              </a:spcBef>
              <a:spcAft>
                <a:spcPct val="0"/>
              </a:spcAft>
              <a:buClrTx/>
              <a:buSzTx/>
              <a:buFontTx/>
              <a:buNone/>
              <a:tabLst/>
              <a:defRPr/>
            </a:pPr>
            <a:endParaRPr kumimoji="0" sz="1600" b="0" i="0" u="none" strike="noStrike" kern="1200" cap="none" spc="0" normalizeH="0" baseline="0" noProof="0" dirty="0">
              <a:ln>
                <a:noFill/>
              </a:ln>
              <a:solidFill>
                <a:srgbClr val="13284C"/>
              </a:solidFill>
              <a:effectLst/>
              <a:uLnTx/>
              <a:uFillTx/>
              <a:latin typeface="CiscoSansTT ExtraLight" panose="020B0303020201020303" pitchFamily="34" charset="0"/>
              <a:ea typeface="ＭＳ Ｐゴシック" charset="0"/>
              <a:cs typeface="Arial" panose="020B0604020202020204" pitchFamily="34" charset="0"/>
            </a:endParaRPr>
          </a:p>
        </p:txBody>
      </p:sp>
      <p:sp>
        <p:nvSpPr>
          <p:cNvPr id="13" name="Google Shape;1882;p245">
            <a:extLst>
              <a:ext uri="{FF2B5EF4-FFF2-40B4-BE49-F238E27FC236}">
                <a16:creationId xmlns:a16="http://schemas.microsoft.com/office/drawing/2014/main" id="{6EE49C3D-F598-46A8-A716-4B5240D168E0}"/>
              </a:ext>
            </a:extLst>
          </p:cNvPr>
          <p:cNvSpPr/>
          <p:nvPr/>
        </p:nvSpPr>
        <p:spPr>
          <a:xfrm>
            <a:off x="533401" y="1940088"/>
            <a:ext cx="3378200" cy="1800463"/>
          </a:xfrm>
          <a:prstGeom prst="rect">
            <a:avLst/>
          </a:prstGeom>
          <a:noFill/>
          <a:ln>
            <a:noFill/>
          </a:ln>
        </p:spPr>
        <p:txBody>
          <a:bodyPr spcFirstLastPara="1" wrap="square" lIns="0" tIns="91425" rIns="0" bIns="91425" anchor="t" anchorCtr="0">
            <a:spAutoFit/>
          </a:bodyPr>
          <a:lstStyle/>
          <a:p>
            <a:pPr marL="285743" marR="0" lvl="0" indent="-285743" algn="l" defTabSz="457189" rtl="0" eaLnBrk="1" fontAlgn="base" latinLnBrk="0" hangingPunct="1">
              <a:lnSpc>
                <a:spcPct val="100000"/>
              </a:lnSpc>
              <a:spcBef>
                <a:spcPct val="0"/>
              </a:spcBef>
              <a:spcAft>
                <a:spcPts val="600"/>
              </a:spcAft>
              <a:buClr>
                <a:srgbClr val="6DBD4A"/>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iscoSansTT ExtraLight" panose="020B0303020201020303" pitchFamily="34" charset="0"/>
                <a:ea typeface="Helvetica Neue"/>
                <a:cs typeface="Arial" panose="020B0604020202020204" pitchFamily="34" charset="0"/>
                <a:sym typeface="Helvetica Neue"/>
              </a:rPr>
              <a:t>Instantly integrates with </a:t>
            </a:r>
            <a:br>
              <a:rPr kumimoji="0" lang="en-US" sz="1800" b="0" i="0" u="none" strike="noStrike" kern="1200" cap="none" spc="0" normalizeH="0" baseline="0" noProof="0" dirty="0">
                <a:ln>
                  <a:noFill/>
                </a:ln>
                <a:solidFill>
                  <a:srgbClr val="FFFFFF"/>
                </a:solidFill>
                <a:effectLst/>
                <a:uLnTx/>
                <a:uFillTx/>
                <a:latin typeface="CiscoSansTT ExtraLight" panose="020B0303020201020303" pitchFamily="34" charset="0"/>
                <a:ea typeface="Helvetica Neue"/>
                <a:cs typeface="Arial" panose="020B0604020202020204" pitchFamily="34" charset="0"/>
                <a:sym typeface="Helvetica Neue"/>
              </a:rPr>
            </a:br>
            <a:r>
              <a:rPr kumimoji="0" lang="en-US" sz="1800" b="0" i="0" u="none" strike="noStrike" kern="1200" cap="none" spc="0" normalizeH="0" baseline="0" noProof="0" dirty="0">
                <a:ln>
                  <a:noFill/>
                </a:ln>
                <a:solidFill>
                  <a:srgbClr val="FFFFFF"/>
                </a:solidFill>
                <a:effectLst/>
                <a:uLnTx/>
                <a:uFillTx/>
                <a:latin typeface="CiscoSansTT ExtraLight" panose="020B0303020201020303" pitchFamily="34" charset="0"/>
                <a:ea typeface="Helvetica Neue"/>
                <a:cs typeface="Arial" panose="020B0604020202020204" pitchFamily="34" charset="0"/>
                <a:sym typeface="Helvetica Neue"/>
              </a:rPr>
              <a:t>all apps</a:t>
            </a:r>
          </a:p>
          <a:p>
            <a:pPr marL="285743" marR="0" lvl="0" indent="-285743" algn="l" defTabSz="457189" rtl="0" eaLnBrk="1" fontAlgn="base" latinLnBrk="0" hangingPunct="1">
              <a:lnSpc>
                <a:spcPct val="100000"/>
              </a:lnSpc>
              <a:spcBef>
                <a:spcPct val="0"/>
              </a:spcBef>
              <a:spcAft>
                <a:spcPts val="600"/>
              </a:spcAft>
              <a:buClr>
                <a:srgbClr val="6DBD4A"/>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iscoSansTT ExtraLight" panose="020B0303020201020303" pitchFamily="34" charset="0"/>
                <a:ea typeface="Helvetica Neue"/>
                <a:cs typeface="Arial" panose="020B0604020202020204" pitchFamily="34" charset="0"/>
                <a:sym typeface="Helvetica Neue"/>
              </a:rPr>
              <a:t>Users self-enroll in minutes</a:t>
            </a:r>
          </a:p>
          <a:p>
            <a:pPr marL="285743" marR="0" lvl="0" indent="-285743" algn="l" defTabSz="457189" rtl="0" eaLnBrk="1" fontAlgn="base" latinLnBrk="0" hangingPunct="1">
              <a:lnSpc>
                <a:spcPct val="100000"/>
              </a:lnSpc>
              <a:spcBef>
                <a:spcPct val="0"/>
              </a:spcBef>
              <a:spcAft>
                <a:spcPts val="600"/>
              </a:spcAft>
              <a:buClr>
                <a:srgbClr val="6DBD4A"/>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iscoSansTT ExtraLight" panose="020B0303020201020303" pitchFamily="34" charset="0"/>
                <a:ea typeface="Helvetica Neue"/>
                <a:cs typeface="Arial" panose="020B0604020202020204" pitchFamily="34" charset="0"/>
                <a:sym typeface="Helvetica Neue"/>
              </a:rPr>
              <a:t>Users authenticate in seconds; no codes to enter</a:t>
            </a:r>
            <a:endParaRPr kumimoji="0" sz="1800" b="0" i="0" u="none" strike="noStrike" kern="1200" cap="none" spc="0" normalizeH="0" baseline="0" noProof="0" dirty="0">
              <a:ln>
                <a:noFill/>
              </a:ln>
              <a:solidFill>
                <a:srgbClr val="FFFFFF"/>
              </a:solidFill>
              <a:effectLst/>
              <a:uLnTx/>
              <a:uFillTx/>
              <a:latin typeface="CiscoSansTT ExtraLight" panose="020B0303020201020303" pitchFamily="34" charset="0"/>
              <a:ea typeface="ＭＳ Ｐゴシック" charset="0"/>
              <a:cs typeface="Arial" panose="020B0604020202020204" pitchFamily="34" charset="0"/>
            </a:endParaRPr>
          </a:p>
        </p:txBody>
      </p:sp>
      <p:sp>
        <p:nvSpPr>
          <p:cNvPr id="15" name="Google Shape;1883;p245" hidden="1">
            <a:extLst>
              <a:ext uri="{FF2B5EF4-FFF2-40B4-BE49-F238E27FC236}">
                <a16:creationId xmlns:a16="http://schemas.microsoft.com/office/drawing/2014/main" id="{880297A2-37E0-4089-B610-A3E4DC9314AF}"/>
              </a:ext>
            </a:extLst>
          </p:cNvPr>
          <p:cNvSpPr/>
          <p:nvPr/>
        </p:nvSpPr>
        <p:spPr>
          <a:xfrm>
            <a:off x="4568207" y="3448592"/>
            <a:ext cx="4181884" cy="840726"/>
          </a:xfrm>
          <a:prstGeom prst="rect">
            <a:avLst/>
          </a:prstGeom>
          <a:solidFill>
            <a:schemeClr val="bg1"/>
          </a:solidFill>
          <a:ln>
            <a:noFill/>
          </a:ln>
        </p:spPr>
        <p:txBody>
          <a:bodyPr spcFirstLastPara="1" wrap="square" lIns="91425" tIns="91425" rIns="365750" bIns="91425" anchor="ctr" anchorCtr="0">
            <a:noAutofit/>
          </a:bodyPr>
          <a:lstStyle/>
          <a:p>
            <a:pPr marL="346067" marR="0" lvl="0" indent="0" algn="l" defTabSz="457189" rtl="0" eaLnBrk="1" fontAlgn="base" latinLnBrk="0" hangingPunct="1">
              <a:lnSpc>
                <a:spcPct val="100000"/>
              </a:lnSpc>
              <a:spcBef>
                <a:spcPct val="0"/>
              </a:spcBef>
              <a:spcAft>
                <a:spcPct val="0"/>
              </a:spcAft>
              <a:buClrTx/>
              <a:buSzTx/>
              <a:buFontTx/>
              <a:buNone/>
              <a:tabLst/>
              <a:defRPr/>
            </a:pPr>
            <a:endParaRPr kumimoji="0" sz="1600" b="0" i="0" u="none" strike="noStrike" kern="1200" cap="none" spc="0" normalizeH="0" baseline="0" noProof="0" dirty="0">
              <a:ln>
                <a:noFill/>
              </a:ln>
              <a:solidFill>
                <a:srgbClr val="13284C"/>
              </a:solidFill>
              <a:effectLst/>
              <a:uLnTx/>
              <a:uFillTx/>
              <a:latin typeface="CiscoSansTT ExtraLight" panose="020B0303020201020303"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42550989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76" name="Google Shape;1576;p193"/>
          <p:cNvSpPr txBox="1"/>
          <p:nvPr/>
        </p:nvSpPr>
        <p:spPr>
          <a:xfrm>
            <a:off x="504009" y="2454614"/>
            <a:ext cx="3588300" cy="2309046"/>
          </a:xfrm>
          <a:prstGeom prst="rect">
            <a:avLst/>
          </a:prstGeom>
          <a:noFill/>
          <a:ln>
            <a:noFill/>
          </a:ln>
        </p:spPr>
        <p:txBody>
          <a:bodyPr spcFirstLastPara="1" wrap="square" lIns="0" tIns="0" rIns="0" bIns="0" anchor="t" anchorCtr="0">
            <a:noAutofit/>
          </a:bodyPr>
          <a:lstStyle/>
          <a:p>
            <a:pPr marL="171450" marR="0" lvl="0" indent="-171450" algn="l" defTabSz="457200" rtl="0" eaLnBrk="1" fontAlgn="base" latinLnBrk="0" hangingPunct="1">
              <a:lnSpc>
                <a:spcPct val="100000"/>
              </a:lnSpc>
              <a:spcBef>
                <a:spcPts val="0"/>
              </a:spcBef>
              <a:spcAft>
                <a:spcPts val="1000"/>
              </a:spcAft>
              <a:buClr>
                <a:srgbClr val="6BBF4E"/>
              </a:buClr>
              <a:buSzPts val="1000"/>
              <a:buFont typeface="Helvetica Neue"/>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Helvetica Neue"/>
                <a:sym typeface="Helvetica Neue"/>
              </a:rPr>
              <a:t>Configure authentication options for each application or group </a:t>
            </a:r>
            <a:br>
              <a:rPr kumimoji="0" lang="en-US" sz="1600" b="0" i="0" u="none" strike="noStrike" kern="1200" cap="none" spc="0" normalizeH="0" baseline="0" noProof="0" dirty="0">
                <a:ln>
                  <a:noFill/>
                </a:ln>
                <a:solidFill>
                  <a:srgbClr val="FFFFFF"/>
                </a:solidFill>
                <a:effectLst/>
                <a:uLnTx/>
                <a:uFillTx/>
                <a:latin typeface="CiscoSansTT ExtraLight"/>
                <a:ea typeface="Helvetica Neue"/>
                <a:sym typeface="Helvetica Neue"/>
              </a:rPr>
            </a:br>
            <a:r>
              <a:rPr kumimoji="0" lang="en-US" sz="1600" b="0" i="0" u="none" strike="noStrike" kern="1200" cap="none" spc="0" normalizeH="0" baseline="0" noProof="0" dirty="0">
                <a:ln>
                  <a:noFill/>
                </a:ln>
                <a:solidFill>
                  <a:srgbClr val="FFFFFF"/>
                </a:solidFill>
                <a:effectLst/>
                <a:uLnTx/>
                <a:uFillTx/>
                <a:latin typeface="CiscoSansTT ExtraLight"/>
                <a:ea typeface="Helvetica Neue"/>
                <a:sym typeface="Helvetica Neue"/>
              </a:rPr>
              <a:t>of users</a:t>
            </a:r>
          </a:p>
          <a:p>
            <a:pPr marL="171450" marR="0" lvl="0" indent="-171450" algn="l" defTabSz="457200" rtl="0" eaLnBrk="1" fontAlgn="base" latinLnBrk="0" hangingPunct="1">
              <a:lnSpc>
                <a:spcPct val="100000"/>
              </a:lnSpc>
              <a:spcBef>
                <a:spcPct val="0"/>
              </a:spcBef>
              <a:spcAft>
                <a:spcPts val="1000"/>
              </a:spcAft>
              <a:buClr>
                <a:srgbClr val="6BBF4E"/>
              </a:buClr>
              <a:buSzPts val="1000"/>
              <a:buFont typeface="Helvetica Neue"/>
              <a:buChar char="●"/>
              <a:tabLst/>
              <a:defRPr/>
            </a:pPr>
            <a:r>
              <a:rPr kumimoji="0" lang="en-US" sz="1600" b="0" i="0" u="none" strike="noStrike" kern="1200" cap="none" spc="0" normalizeH="0" baseline="0" noProof="0" dirty="0">
                <a:ln>
                  <a:noFill/>
                </a:ln>
                <a:solidFill>
                  <a:srgbClr val="FFFFFF"/>
                </a:solidFill>
                <a:effectLst/>
                <a:uLnTx/>
                <a:uFillTx/>
                <a:latin typeface="CiscoSansTT ExtraLight"/>
                <a:ea typeface="Helvetica Neue"/>
                <a:sym typeface="Helvetica Neue"/>
              </a:rPr>
              <a:t>Enable multiple option for users for ease of use and flexibility </a:t>
            </a:r>
            <a:endParaRPr kumimoji="0" sz="1800" b="0" i="0" u="none" strike="noStrike" kern="1200" cap="none" spc="0" normalizeH="0" baseline="0" noProof="0" dirty="0">
              <a:ln>
                <a:noFill/>
              </a:ln>
              <a:solidFill>
                <a:srgbClr val="0D274D"/>
              </a:solidFill>
              <a:effectLst/>
              <a:uLnTx/>
              <a:uFillTx/>
              <a:latin typeface="CiscoSansTT ExtraLight"/>
              <a:ea typeface="ＭＳ Ｐゴシック" charset="0"/>
            </a:endParaRPr>
          </a:p>
        </p:txBody>
      </p:sp>
      <p:sp>
        <p:nvSpPr>
          <p:cNvPr id="6" name="Title 5">
            <a:extLst>
              <a:ext uri="{FF2B5EF4-FFF2-40B4-BE49-F238E27FC236}">
                <a16:creationId xmlns:a16="http://schemas.microsoft.com/office/drawing/2014/main" id="{692A0A0A-4060-454F-A4CB-1298A1457A43}"/>
              </a:ext>
            </a:extLst>
          </p:cNvPr>
          <p:cNvSpPr>
            <a:spLocks noGrp="1"/>
          </p:cNvSpPr>
          <p:nvPr>
            <p:ph type="title"/>
          </p:nvPr>
        </p:nvSpPr>
        <p:spPr>
          <a:xfrm>
            <a:off x="428888" y="557784"/>
            <a:ext cx="3808797" cy="1824038"/>
          </a:xfrm>
        </p:spPr>
        <p:txBody>
          <a:bodyPr anchor="t"/>
          <a:lstStyle/>
          <a:p>
            <a:r>
              <a:rPr lang="en-US" dirty="0">
                <a:sym typeface="Helvetica Neue"/>
              </a:rPr>
              <a:t>Broadest Range </a:t>
            </a:r>
            <a:br>
              <a:rPr lang="en-US" dirty="0">
                <a:sym typeface="Helvetica Neue"/>
              </a:rPr>
            </a:br>
            <a:r>
              <a:rPr lang="en-US" dirty="0">
                <a:sym typeface="Helvetica Neue"/>
              </a:rPr>
              <a:t>of Multi-Factor Authentication </a:t>
            </a:r>
            <a:br>
              <a:rPr lang="en-US" dirty="0">
                <a:sym typeface="Helvetica Neue"/>
              </a:rPr>
            </a:br>
            <a:r>
              <a:rPr lang="en-US" dirty="0">
                <a:sym typeface="Helvetica Neue"/>
              </a:rPr>
              <a:t>(MFA) Options</a:t>
            </a:r>
            <a:endParaRPr lang="en-US" dirty="0"/>
          </a:p>
        </p:txBody>
      </p:sp>
      <p:grpSp>
        <p:nvGrpSpPr>
          <p:cNvPr id="23" name="Group 22">
            <a:extLst>
              <a:ext uri="{FF2B5EF4-FFF2-40B4-BE49-F238E27FC236}">
                <a16:creationId xmlns:a16="http://schemas.microsoft.com/office/drawing/2014/main" id="{6759CF58-030C-4B67-82AA-F01ACD8D7EDF}"/>
              </a:ext>
            </a:extLst>
          </p:cNvPr>
          <p:cNvGrpSpPr/>
          <p:nvPr/>
        </p:nvGrpSpPr>
        <p:grpSpPr>
          <a:xfrm>
            <a:off x="6958596" y="745046"/>
            <a:ext cx="935105" cy="564704"/>
            <a:chOff x="7045486" y="581050"/>
            <a:chExt cx="1142501" cy="689948"/>
          </a:xfrm>
        </p:grpSpPr>
        <p:sp>
          <p:nvSpPr>
            <p:cNvPr id="1564" name="Google Shape;1564;p193"/>
            <p:cNvSpPr txBox="1"/>
            <p:nvPr/>
          </p:nvSpPr>
          <p:spPr>
            <a:xfrm>
              <a:off x="7659620" y="792709"/>
              <a:ext cx="528367" cy="2973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Push</a:t>
              </a:r>
            </a:p>
          </p:txBody>
        </p:sp>
        <p:pic>
          <p:nvPicPr>
            <p:cNvPr id="4" name="Graphic 3">
              <a:extLst>
                <a:ext uri="{FF2B5EF4-FFF2-40B4-BE49-F238E27FC236}">
                  <a16:creationId xmlns:a16="http://schemas.microsoft.com/office/drawing/2014/main" id="{98A16921-B5AA-4C79-96D7-3261706E7B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45486" y="581050"/>
              <a:ext cx="689948" cy="689948"/>
            </a:xfrm>
            <a:prstGeom prst="rect">
              <a:avLst/>
            </a:prstGeom>
          </p:spPr>
        </p:pic>
      </p:grpSp>
      <p:grpSp>
        <p:nvGrpSpPr>
          <p:cNvPr id="21" name="Group 20">
            <a:extLst>
              <a:ext uri="{FF2B5EF4-FFF2-40B4-BE49-F238E27FC236}">
                <a16:creationId xmlns:a16="http://schemas.microsoft.com/office/drawing/2014/main" id="{8A0B3AE3-6040-49F8-903C-388F33821E70}"/>
              </a:ext>
            </a:extLst>
          </p:cNvPr>
          <p:cNvGrpSpPr/>
          <p:nvPr/>
        </p:nvGrpSpPr>
        <p:grpSpPr>
          <a:xfrm>
            <a:off x="5033777" y="764827"/>
            <a:ext cx="1271455" cy="525142"/>
            <a:chOff x="5033777" y="706890"/>
            <a:chExt cx="1553449" cy="641612"/>
          </a:xfrm>
        </p:grpSpPr>
        <p:sp>
          <p:nvSpPr>
            <p:cNvPr id="1569" name="Google Shape;1569;p193"/>
            <p:cNvSpPr txBox="1"/>
            <p:nvPr/>
          </p:nvSpPr>
          <p:spPr>
            <a:xfrm>
              <a:off x="5597667" y="879046"/>
              <a:ext cx="989559" cy="2973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Wearables</a:t>
              </a:r>
            </a:p>
          </p:txBody>
        </p:sp>
        <p:pic>
          <p:nvPicPr>
            <p:cNvPr id="9" name="Graphic 8">
              <a:extLst>
                <a:ext uri="{FF2B5EF4-FFF2-40B4-BE49-F238E27FC236}">
                  <a16:creationId xmlns:a16="http://schemas.microsoft.com/office/drawing/2014/main" id="{BE60A61D-4BB7-474A-9054-11C6ACBF851B}"/>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033777" y="706890"/>
              <a:ext cx="643332" cy="641612"/>
            </a:xfrm>
            <a:prstGeom prst="rect">
              <a:avLst/>
            </a:prstGeom>
          </p:spPr>
        </p:pic>
      </p:grpSp>
      <p:grpSp>
        <p:nvGrpSpPr>
          <p:cNvPr id="20" name="Group 19">
            <a:extLst>
              <a:ext uri="{FF2B5EF4-FFF2-40B4-BE49-F238E27FC236}">
                <a16:creationId xmlns:a16="http://schemas.microsoft.com/office/drawing/2014/main" id="{D04BD78C-7F71-4C83-9FB3-FFC03BB3940D}"/>
              </a:ext>
            </a:extLst>
          </p:cNvPr>
          <p:cNvGrpSpPr/>
          <p:nvPr/>
        </p:nvGrpSpPr>
        <p:grpSpPr>
          <a:xfrm>
            <a:off x="5134902" y="1866559"/>
            <a:ext cx="1210086" cy="525142"/>
            <a:chOff x="5134901" y="1881082"/>
            <a:chExt cx="1478469" cy="641612"/>
          </a:xfrm>
        </p:grpSpPr>
        <p:sp>
          <p:nvSpPr>
            <p:cNvPr id="1567" name="Google Shape;1567;p193"/>
            <p:cNvSpPr txBox="1"/>
            <p:nvPr/>
          </p:nvSpPr>
          <p:spPr>
            <a:xfrm>
              <a:off x="5855633" y="2053238"/>
              <a:ext cx="757737" cy="297300"/>
            </a:xfrm>
            <a:prstGeom prst="rect">
              <a:avLst/>
            </a:prstGeom>
            <a:noFill/>
            <a:ln>
              <a:noFill/>
            </a:ln>
          </p:spPr>
          <p:txBody>
            <a:bodyPr spcFirstLastPara="1" wrap="square" lIns="0" tIns="0" rIns="0" bIns="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Phone Call</a:t>
              </a:r>
            </a:p>
          </p:txBody>
        </p:sp>
        <p:pic>
          <p:nvPicPr>
            <p:cNvPr id="7" name="Graphic 6">
              <a:extLst>
                <a:ext uri="{FF2B5EF4-FFF2-40B4-BE49-F238E27FC236}">
                  <a16:creationId xmlns:a16="http://schemas.microsoft.com/office/drawing/2014/main" id="{95163127-6B56-4C84-A50C-8EA81B39EE3D}"/>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134901" y="1881082"/>
              <a:ext cx="643332" cy="641612"/>
            </a:xfrm>
            <a:prstGeom prst="rect">
              <a:avLst/>
            </a:prstGeom>
          </p:spPr>
        </p:pic>
      </p:grpSp>
      <p:grpSp>
        <p:nvGrpSpPr>
          <p:cNvPr id="22" name="Group 21">
            <a:extLst>
              <a:ext uri="{FF2B5EF4-FFF2-40B4-BE49-F238E27FC236}">
                <a16:creationId xmlns:a16="http://schemas.microsoft.com/office/drawing/2014/main" id="{178843DB-3998-42E1-9038-6A5DAD08D667}"/>
              </a:ext>
            </a:extLst>
          </p:cNvPr>
          <p:cNvGrpSpPr/>
          <p:nvPr/>
        </p:nvGrpSpPr>
        <p:grpSpPr>
          <a:xfrm>
            <a:off x="7100426" y="1867084"/>
            <a:ext cx="1162306" cy="524091"/>
            <a:chOff x="7196339" y="1991755"/>
            <a:chExt cx="1420091" cy="640328"/>
          </a:xfrm>
        </p:grpSpPr>
        <p:sp>
          <p:nvSpPr>
            <p:cNvPr id="1565" name="Google Shape;1565;p193"/>
            <p:cNvSpPr txBox="1"/>
            <p:nvPr/>
          </p:nvSpPr>
          <p:spPr>
            <a:xfrm>
              <a:off x="7665824" y="2163270"/>
              <a:ext cx="950606" cy="297300"/>
            </a:xfrm>
            <a:prstGeom prst="rect">
              <a:avLst/>
            </a:prstGeom>
            <a:noFill/>
            <a:ln>
              <a:noFill/>
            </a:ln>
          </p:spPr>
          <p:txBody>
            <a:bodyPr spcFirstLastPara="1" wrap="square" lIns="0" tIns="0" rIns="0" bIns="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Soft Token</a:t>
              </a:r>
            </a:p>
          </p:txBody>
        </p:sp>
        <p:grpSp>
          <p:nvGrpSpPr>
            <p:cNvPr id="19" name="Group 18">
              <a:extLst>
                <a:ext uri="{FF2B5EF4-FFF2-40B4-BE49-F238E27FC236}">
                  <a16:creationId xmlns:a16="http://schemas.microsoft.com/office/drawing/2014/main" id="{D4679727-9350-4E5E-A1C2-FE3F9B69E191}"/>
                </a:ext>
              </a:extLst>
            </p:cNvPr>
            <p:cNvGrpSpPr/>
            <p:nvPr/>
          </p:nvGrpSpPr>
          <p:grpSpPr>
            <a:xfrm>
              <a:off x="7196339" y="1991755"/>
              <a:ext cx="375705" cy="640328"/>
              <a:chOff x="6617272" y="762062"/>
              <a:chExt cx="375705" cy="640328"/>
            </a:xfrm>
          </p:grpSpPr>
          <p:sp>
            <p:nvSpPr>
              <p:cNvPr id="14" name="Freeform: Shape 13">
                <a:extLst>
                  <a:ext uri="{FF2B5EF4-FFF2-40B4-BE49-F238E27FC236}">
                    <a16:creationId xmlns:a16="http://schemas.microsoft.com/office/drawing/2014/main" id="{1DF47E0C-697B-4BF5-95EB-9FB6233D9521}"/>
                  </a:ext>
                </a:extLst>
              </p:cNvPr>
              <p:cNvSpPr/>
              <p:nvPr/>
            </p:nvSpPr>
            <p:spPr>
              <a:xfrm>
                <a:off x="6617272" y="894876"/>
                <a:ext cx="375062" cy="374059"/>
              </a:xfrm>
              <a:custGeom>
                <a:avLst/>
                <a:gdLst>
                  <a:gd name="connsiteX0" fmla="*/ 0 w 375062"/>
                  <a:gd name="connsiteY0" fmla="*/ 0 h 374059"/>
                  <a:gd name="connsiteX1" fmla="*/ 375063 w 375062"/>
                  <a:gd name="connsiteY1" fmla="*/ 0 h 374059"/>
                  <a:gd name="connsiteX2" fmla="*/ 375063 w 375062"/>
                  <a:gd name="connsiteY2" fmla="*/ 374060 h 374059"/>
                  <a:gd name="connsiteX3" fmla="*/ 0 w 375062"/>
                  <a:gd name="connsiteY3" fmla="*/ 374060 h 374059"/>
                </a:gdLst>
                <a:ahLst/>
                <a:cxnLst>
                  <a:cxn ang="0">
                    <a:pos x="connsiteX0" y="connsiteY0"/>
                  </a:cxn>
                  <a:cxn ang="0">
                    <a:pos x="connsiteX1" y="connsiteY1"/>
                  </a:cxn>
                  <a:cxn ang="0">
                    <a:pos x="connsiteX2" y="connsiteY2"/>
                  </a:cxn>
                  <a:cxn ang="0">
                    <a:pos x="connsiteX3" y="connsiteY3"/>
                  </a:cxn>
                </a:cxnLst>
                <a:rect l="l" t="t" r="r" b="b"/>
                <a:pathLst>
                  <a:path w="375062" h="374059">
                    <a:moveTo>
                      <a:pt x="0" y="0"/>
                    </a:moveTo>
                    <a:lnTo>
                      <a:pt x="375063" y="0"/>
                    </a:lnTo>
                    <a:lnTo>
                      <a:pt x="375063" y="374060"/>
                    </a:lnTo>
                    <a:lnTo>
                      <a:pt x="0" y="374060"/>
                    </a:lnTo>
                    <a:close/>
                  </a:path>
                </a:pathLst>
              </a:custGeom>
              <a:solidFill>
                <a:srgbClr val="D9D9D9"/>
              </a:solidFill>
              <a:ln w="6382" cap="flat">
                <a:noFill/>
                <a:prstDash val="solid"/>
                <a:miter/>
              </a:ln>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solidFill>
                      <a:srgbClr val="0D274D"/>
                    </a:solidFill>
                    <a:effectLst/>
                    <a:uLnTx/>
                    <a:uFillTx/>
                    <a:latin typeface="CiscoSansTT ExtraLight"/>
                    <a:ea typeface="ＭＳ Ｐゴシック" charset="0"/>
                  </a:rPr>
                  <a:t>######</a:t>
                </a:r>
              </a:p>
            </p:txBody>
          </p:sp>
          <p:sp>
            <p:nvSpPr>
              <p:cNvPr id="15" name="Freeform: Shape 14">
                <a:extLst>
                  <a:ext uri="{FF2B5EF4-FFF2-40B4-BE49-F238E27FC236}">
                    <a16:creationId xmlns:a16="http://schemas.microsoft.com/office/drawing/2014/main" id="{2A6BFC59-FF96-47E2-BFB5-00C80BE2E4AC}"/>
                  </a:ext>
                </a:extLst>
              </p:cNvPr>
              <p:cNvSpPr/>
              <p:nvPr/>
            </p:nvSpPr>
            <p:spPr>
              <a:xfrm>
                <a:off x="6617272" y="1295883"/>
                <a:ext cx="375062" cy="106507"/>
              </a:xfrm>
              <a:custGeom>
                <a:avLst/>
                <a:gdLst>
                  <a:gd name="connsiteX0" fmla="*/ 0 w 375062"/>
                  <a:gd name="connsiteY0" fmla="*/ 0 h 106507"/>
                  <a:gd name="connsiteX1" fmla="*/ 0 w 375062"/>
                  <a:gd name="connsiteY1" fmla="*/ 39780 h 106507"/>
                  <a:gd name="connsiteX2" fmla="*/ 66907 w 375062"/>
                  <a:gd name="connsiteY2" fmla="*/ 106508 h 106507"/>
                  <a:gd name="connsiteX3" fmla="*/ 308156 w 375062"/>
                  <a:gd name="connsiteY3" fmla="*/ 106508 h 106507"/>
                  <a:gd name="connsiteX4" fmla="*/ 375063 w 375062"/>
                  <a:gd name="connsiteY4" fmla="*/ 39780 h 106507"/>
                  <a:gd name="connsiteX5" fmla="*/ 375063 w 375062"/>
                  <a:gd name="connsiteY5" fmla="*/ 0 h 106507"/>
                  <a:gd name="connsiteX6" fmla="*/ 0 w 375062"/>
                  <a:gd name="connsiteY6" fmla="*/ 0 h 10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062" h="106507">
                    <a:moveTo>
                      <a:pt x="0" y="0"/>
                    </a:moveTo>
                    <a:lnTo>
                      <a:pt x="0" y="39780"/>
                    </a:lnTo>
                    <a:cubicBezTo>
                      <a:pt x="0" y="76352"/>
                      <a:pt x="30237" y="106508"/>
                      <a:pt x="66907" y="106508"/>
                    </a:cubicBezTo>
                    <a:lnTo>
                      <a:pt x="308156" y="106508"/>
                    </a:lnTo>
                    <a:cubicBezTo>
                      <a:pt x="344826" y="106508"/>
                      <a:pt x="375063" y="76352"/>
                      <a:pt x="375063" y="39780"/>
                    </a:cubicBezTo>
                    <a:lnTo>
                      <a:pt x="375063" y="0"/>
                    </a:lnTo>
                    <a:lnTo>
                      <a:pt x="0" y="0"/>
                    </a:lnTo>
                    <a:close/>
                  </a:path>
                </a:pathLst>
              </a:custGeom>
              <a:solidFill>
                <a:srgbClr val="13284C"/>
              </a:solidFill>
              <a:ln w="638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16" name="Freeform: Shape 15">
                <a:extLst>
                  <a:ext uri="{FF2B5EF4-FFF2-40B4-BE49-F238E27FC236}">
                    <a16:creationId xmlns:a16="http://schemas.microsoft.com/office/drawing/2014/main" id="{09F9FCF3-B1EB-4B0E-B84F-DB92575F796D}"/>
                  </a:ext>
                </a:extLst>
              </p:cNvPr>
              <p:cNvSpPr/>
              <p:nvPr/>
            </p:nvSpPr>
            <p:spPr>
              <a:xfrm>
                <a:off x="6778105" y="1309357"/>
                <a:ext cx="54039" cy="53895"/>
              </a:xfrm>
              <a:custGeom>
                <a:avLst/>
                <a:gdLst>
                  <a:gd name="connsiteX0" fmla="*/ 54040 w 54039"/>
                  <a:gd name="connsiteY0" fmla="*/ 26948 h 53895"/>
                  <a:gd name="connsiteX1" fmla="*/ 27020 w 54039"/>
                  <a:gd name="connsiteY1" fmla="*/ 53895 h 53895"/>
                  <a:gd name="connsiteX2" fmla="*/ 0 w 54039"/>
                  <a:gd name="connsiteY2" fmla="*/ 26948 h 53895"/>
                  <a:gd name="connsiteX3" fmla="*/ 27020 w 54039"/>
                  <a:gd name="connsiteY3" fmla="*/ 0 h 53895"/>
                  <a:gd name="connsiteX4" fmla="*/ 54040 w 54039"/>
                  <a:gd name="connsiteY4" fmla="*/ 26948 h 53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39" h="53895">
                    <a:moveTo>
                      <a:pt x="54040" y="26948"/>
                    </a:moveTo>
                    <a:cubicBezTo>
                      <a:pt x="54040" y="41830"/>
                      <a:pt x="41943" y="53895"/>
                      <a:pt x="27020" y="53895"/>
                    </a:cubicBezTo>
                    <a:cubicBezTo>
                      <a:pt x="12097" y="53895"/>
                      <a:pt x="0" y="41830"/>
                      <a:pt x="0" y="26948"/>
                    </a:cubicBezTo>
                    <a:cubicBezTo>
                      <a:pt x="0" y="12065"/>
                      <a:pt x="12097" y="0"/>
                      <a:pt x="27020" y="0"/>
                    </a:cubicBezTo>
                    <a:cubicBezTo>
                      <a:pt x="41943" y="0"/>
                      <a:pt x="54040" y="12065"/>
                      <a:pt x="54040" y="26948"/>
                    </a:cubicBezTo>
                    <a:close/>
                  </a:path>
                </a:pathLst>
              </a:custGeom>
              <a:solidFill>
                <a:srgbClr val="FFFFFF"/>
              </a:solidFill>
              <a:ln w="638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17" name="Freeform: Shape 16">
                <a:extLst>
                  <a:ext uri="{FF2B5EF4-FFF2-40B4-BE49-F238E27FC236}">
                    <a16:creationId xmlns:a16="http://schemas.microsoft.com/office/drawing/2014/main" id="{C1701E9D-FAB1-415F-8F4A-C9DCDA1335B8}"/>
                  </a:ext>
                </a:extLst>
              </p:cNvPr>
              <p:cNvSpPr/>
              <p:nvPr/>
            </p:nvSpPr>
            <p:spPr>
              <a:xfrm>
                <a:off x="6617272" y="762062"/>
                <a:ext cx="375705" cy="106507"/>
              </a:xfrm>
              <a:custGeom>
                <a:avLst/>
                <a:gdLst>
                  <a:gd name="connsiteX0" fmla="*/ 375706 w 375705"/>
                  <a:gd name="connsiteY0" fmla="*/ 106508 h 106507"/>
                  <a:gd name="connsiteX1" fmla="*/ 375706 w 375705"/>
                  <a:gd name="connsiteY1" fmla="*/ 66728 h 106507"/>
                  <a:gd name="connsiteX2" fmla="*/ 308799 w 375705"/>
                  <a:gd name="connsiteY2" fmla="*/ 0 h 106507"/>
                  <a:gd name="connsiteX3" fmla="*/ 66907 w 375705"/>
                  <a:gd name="connsiteY3" fmla="*/ 0 h 106507"/>
                  <a:gd name="connsiteX4" fmla="*/ 0 w 375705"/>
                  <a:gd name="connsiteY4" fmla="*/ 66728 h 106507"/>
                  <a:gd name="connsiteX5" fmla="*/ 0 w 375705"/>
                  <a:gd name="connsiteY5" fmla="*/ 106508 h 106507"/>
                  <a:gd name="connsiteX6" fmla="*/ 375706 w 375705"/>
                  <a:gd name="connsiteY6" fmla="*/ 106508 h 10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705" h="106507">
                    <a:moveTo>
                      <a:pt x="375706" y="106508"/>
                    </a:moveTo>
                    <a:lnTo>
                      <a:pt x="375706" y="66728"/>
                    </a:lnTo>
                    <a:cubicBezTo>
                      <a:pt x="375706" y="30156"/>
                      <a:pt x="345469" y="0"/>
                      <a:pt x="308799" y="0"/>
                    </a:cubicBezTo>
                    <a:lnTo>
                      <a:pt x="66907" y="0"/>
                    </a:lnTo>
                    <a:cubicBezTo>
                      <a:pt x="30237" y="0"/>
                      <a:pt x="0" y="30156"/>
                      <a:pt x="0" y="66728"/>
                    </a:cubicBezTo>
                    <a:lnTo>
                      <a:pt x="0" y="106508"/>
                    </a:lnTo>
                    <a:lnTo>
                      <a:pt x="375706" y="106508"/>
                    </a:lnTo>
                    <a:close/>
                  </a:path>
                </a:pathLst>
              </a:custGeom>
              <a:solidFill>
                <a:srgbClr val="13284C"/>
              </a:solidFill>
              <a:ln w="638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18" name="Freeform: Shape 17">
                <a:extLst>
                  <a:ext uri="{FF2B5EF4-FFF2-40B4-BE49-F238E27FC236}">
                    <a16:creationId xmlns:a16="http://schemas.microsoft.com/office/drawing/2014/main" id="{2019A737-9D3A-45F4-8C56-62CD465917A6}"/>
                  </a:ext>
                </a:extLst>
              </p:cNvPr>
              <p:cNvSpPr/>
              <p:nvPr/>
            </p:nvSpPr>
            <p:spPr>
              <a:xfrm>
                <a:off x="6724708" y="814674"/>
                <a:ext cx="160833" cy="26947"/>
              </a:xfrm>
              <a:custGeom>
                <a:avLst/>
                <a:gdLst>
                  <a:gd name="connsiteX0" fmla="*/ 13510 w 160833"/>
                  <a:gd name="connsiteY0" fmla="*/ 0 h 26947"/>
                  <a:gd name="connsiteX1" fmla="*/ 147323 w 160833"/>
                  <a:gd name="connsiteY1" fmla="*/ 0 h 26947"/>
                  <a:gd name="connsiteX2" fmla="*/ 160833 w 160833"/>
                  <a:gd name="connsiteY2" fmla="*/ 13474 h 26947"/>
                  <a:gd name="connsiteX3" fmla="*/ 147323 w 160833"/>
                  <a:gd name="connsiteY3" fmla="*/ 26948 h 26947"/>
                  <a:gd name="connsiteX4" fmla="*/ 13510 w 160833"/>
                  <a:gd name="connsiteY4" fmla="*/ 26948 h 26947"/>
                  <a:gd name="connsiteX5" fmla="*/ 0 w 160833"/>
                  <a:gd name="connsiteY5" fmla="*/ 13474 h 26947"/>
                  <a:gd name="connsiteX6" fmla="*/ 13510 w 160833"/>
                  <a:gd name="connsiteY6" fmla="*/ 0 h 2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833" h="26947">
                    <a:moveTo>
                      <a:pt x="13510" y="0"/>
                    </a:moveTo>
                    <a:lnTo>
                      <a:pt x="147323" y="0"/>
                    </a:lnTo>
                    <a:cubicBezTo>
                      <a:pt x="154400" y="0"/>
                      <a:pt x="160833" y="5775"/>
                      <a:pt x="160833" y="13474"/>
                    </a:cubicBezTo>
                    <a:cubicBezTo>
                      <a:pt x="160833" y="21173"/>
                      <a:pt x="155043" y="26948"/>
                      <a:pt x="147323" y="26948"/>
                    </a:cubicBezTo>
                    <a:lnTo>
                      <a:pt x="13510" y="26948"/>
                    </a:lnTo>
                    <a:cubicBezTo>
                      <a:pt x="5790" y="26948"/>
                      <a:pt x="0" y="21173"/>
                      <a:pt x="0" y="13474"/>
                    </a:cubicBezTo>
                    <a:cubicBezTo>
                      <a:pt x="0" y="5775"/>
                      <a:pt x="5790" y="0"/>
                      <a:pt x="13510" y="0"/>
                    </a:cubicBezTo>
                    <a:close/>
                  </a:path>
                </a:pathLst>
              </a:custGeom>
              <a:solidFill>
                <a:srgbClr val="FFFFFF"/>
              </a:solidFill>
              <a:ln w="638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grpSp>
      </p:grpSp>
      <p:grpSp>
        <p:nvGrpSpPr>
          <p:cNvPr id="13" name="Group 12">
            <a:extLst>
              <a:ext uri="{FF2B5EF4-FFF2-40B4-BE49-F238E27FC236}">
                <a16:creationId xmlns:a16="http://schemas.microsoft.com/office/drawing/2014/main" id="{6192441B-65C9-4BA9-9693-41E8EBFD6946}"/>
              </a:ext>
            </a:extLst>
          </p:cNvPr>
          <p:cNvGrpSpPr/>
          <p:nvPr/>
        </p:nvGrpSpPr>
        <p:grpSpPr>
          <a:xfrm>
            <a:off x="5134902" y="2948510"/>
            <a:ext cx="1347251" cy="525142"/>
            <a:chOff x="5134901" y="3082955"/>
            <a:chExt cx="1646055" cy="641612"/>
          </a:xfrm>
        </p:grpSpPr>
        <p:sp>
          <p:nvSpPr>
            <p:cNvPr id="1570" name="Google Shape;1570;p193"/>
            <p:cNvSpPr txBox="1"/>
            <p:nvPr/>
          </p:nvSpPr>
          <p:spPr>
            <a:xfrm>
              <a:off x="5791398" y="3255111"/>
              <a:ext cx="989558" cy="2973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Biometrics</a:t>
              </a:r>
            </a:p>
          </p:txBody>
        </p:sp>
        <p:sp>
          <p:nvSpPr>
            <p:cNvPr id="11" name="Freeform 2">
              <a:extLst>
                <a:ext uri="{FF2B5EF4-FFF2-40B4-BE49-F238E27FC236}">
                  <a16:creationId xmlns:a16="http://schemas.microsoft.com/office/drawing/2014/main" id="{93B6EE37-9C98-4780-95D5-DD77F4E69CB9}"/>
                </a:ext>
              </a:extLst>
            </p:cNvPr>
            <p:cNvSpPr>
              <a:spLocks/>
            </p:cNvSpPr>
            <p:nvPr/>
          </p:nvSpPr>
          <p:spPr>
            <a:xfrm>
              <a:off x="5134901" y="3082955"/>
              <a:ext cx="643332" cy="641612"/>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tx2"/>
            </a:solidFill>
            <a:ln>
              <a:noFill/>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grpSp>
      <p:grpSp>
        <p:nvGrpSpPr>
          <p:cNvPr id="8" name="Group 7">
            <a:extLst>
              <a:ext uri="{FF2B5EF4-FFF2-40B4-BE49-F238E27FC236}">
                <a16:creationId xmlns:a16="http://schemas.microsoft.com/office/drawing/2014/main" id="{96C65B02-E334-447A-A02C-3A54E6EA9B3C}"/>
              </a:ext>
            </a:extLst>
          </p:cNvPr>
          <p:cNvGrpSpPr/>
          <p:nvPr/>
        </p:nvGrpSpPr>
        <p:grpSpPr>
          <a:xfrm>
            <a:off x="7100423" y="3008093"/>
            <a:ext cx="934115" cy="405976"/>
            <a:chOff x="7196339" y="3234812"/>
            <a:chExt cx="1141290" cy="496016"/>
          </a:xfrm>
        </p:grpSpPr>
        <p:sp>
          <p:nvSpPr>
            <p:cNvPr id="1568" name="Google Shape;1568;p193"/>
            <p:cNvSpPr txBox="1"/>
            <p:nvPr/>
          </p:nvSpPr>
          <p:spPr>
            <a:xfrm>
              <a:off x="7848401" y="3334170"/>
              <a:ext cx="489228" cy="297300"/>
            </a:xfrm>
            <a:prstGeom prst="rect">
              <a:avLst/>
            </a:prstGeom>
            <a:noFill/>
            <a:ln>
              <a:noFill/>
            </a:ln>
          </p:spPr>
          <p:txBody>
            <a:bodyPr spcFirstLastPara="1" wrap="square" lIns="0" tIns="0" rIns="0" bIns="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U2F</a:t>
              </a:r>
            </a:p>
          </p:txBody>
        </p:sp>
        <p:grpSp>
          <p:nvGrpSpPr>
            <p:cNvPr id="92" name="Group 91">
              <a:extLst>
                <a:ext uri="{FF2B5EF4-FFF2-40B4-BE49-F238E27FC236}">
                  <a16:creationId xmlns:a16="http://schemas.microsoft.com/office/drawing/2014/main" id="{F3567E3B-84D9-4A1B-B2B6-965D7489CC45}"/>
                </a:ext>
              </a:extLst>
            </p:cNvPr>
            <p:cNvGrpSpPr/>
            <p:nvPr/>
          </p:nvGrpSpPr>
          <p:grpSpPr>
            <a:xfrm>
              <a:off x="7196339" y="3234812"/>
              <a:ext cx="557446" cy="496016"/>
              <a:chOff x="10877319" y="-313751"/>
              <a:chExt cx="1805288" cy="1606343"/>
            </a:xfrm>
          </p:grpSpPr>
          <p:sp>
            <p:nvSpPr>
              <p:cNvPr id="93" name="Freeform: Shape 92">
                <a:extLst>
                  <a:ext uri="{FF2B5EF4-FFF2-40B4-BE49-F238E27FC236}">
                    <a16:creationId xmlns:a16="http://schemas.microsoft.com/office/drawing/2014/main" id="{16EF9C8B-0C9A-4438-B8DE-88E5E49F62B8}"/>
                  </a:ext>
                </a:extLst>
              </p:cNvPr>
              <p:cNvSpPr/>
              <p:nvPr/>
            </p:nvSpPr>
            <p:spPr>
              <a:xfrm flipH="1">
                <a:off x="12410009" y="-313751"/>
                <a:ext cx="272598" cy="1606343"/>
              </a:xfrm>
              <a:custGeom>
                <a:avLst/>
                <a:gdLst>
                  <a:gd name="connsiteX0" fmla="*/ 0 w 55822"/>
                  <a:gd name="connsiteY0" fmla="*/ 40101 h 427762"/>
                  <a:gd name="connsiteX1" fmla="*/ 0 w 55822"/>
                  <a:gd name="connsiteY1" fmla="*/ 387662 h 427762"/>
                  <a:gd name="connsiteX2" fmla="*/ 41884 w 55822"/>
                  <a:gd name="connsiteY2" fmla="*/ 427763 h 427762"/>
                  <a:gd name="connsiteX3" fmla="*/ 55822 w 55822"/>
                  <a:gd name="connsiteY3" fmla="*/ 427763 h 427762"/>
                  <a:gd name="connsiteX4" fmla="*/ 55822 w 55822"/>
                  <a:gd name="connsiteY4" fmla="*/ 0 h 427762"/>
                  <a:gd name="connsiteX5" fmla="*/ 41884 w 55822"/>
                  <a:gd name="connsiteY5" fmla="*/ 0 h 427762"/>
                  <a:gd name="connsiteX6" fmla="*/ 0 w 55822"/>
                  <a:gd name="connsiteY6" fmla="*/ 40101 h 42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22" h="427762">
                    <a:moveTo>
                      <a:pt x="0" y="40101"/>
                    </a:moveTo>
                    <a:lnTo>
                      <a:pt x="0" y="387662"/>
                    </a:lnTo>
                    <a:cubicBezTo>
                      <a:pt x="37" y="409794"/>
                      <a:pt x="18767" y="427727"/>
                      <a:pt x="41884" y="427763"/>
                    </a:cubicBezTo>
                    <a:lnTo>
                      <a:pt x="55822" y="427763"/>
                    </a:lnTo>
                    <a:lnTo>
                      <a:pt x="55822" y="0"/>
                    </a:lnTo>
                    <a:lnTo>
                      <a:pt x="41884" y="0"/>
                    </a:lnTo>
                    <a:cubicBezTo>
                      <a:pt x="18752" y="0"/>
                      <a:pt x="0" y="17954"/>
                      <a:pt x="0" y="40101"/>
                    </a:cubicBezTo>
                    <a:close/>
                  </a:path>
                </a:pathLst>
              </a:custGeom>
              <a:solidFill>
                <a:srgbClr val="13284C"/>
              </a:solidFill>
              <a:ln w="664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94" name="Freeform: Shape 93">
                <a:extLst>
                  <a:ext uri="{FF2B5EF4-FFF2-40B4-BE49-F238E27FC236}">
                    <a16:creationId xmlns:a16="http://schemas.microsoft.com/office/drawing/2014/main" id="{E7994B47-4F77-4290-9862-BE571E43E065}"/>
                  </a:ext>
                </a:extLst>
              </p:cNvPr>
              <p:cNvSpPr/>
              <p:nvPr/>
            </p:nvSpPr>
            <p:spPr>
              <a:xfrm>
                <a:off x="10877319" y="-250021"/>
                <a:ext cx="1532690" cy="1478882"/>
              </a:xfrm>
              <a:custGeom>
                <a:avLst/>
                <a:gdLst>
                  <a:gd name="connsiteX0" fmla="*/ 181540 w 195479"/>
                  <a:gd name="connsiteY0" fmla="*/ 0 h 80201"/>
                  <a:gd name="connsiteX1" fmla="*/ 195479 w 195479"/>
                  <a:gd name="connsiteY1" fmla="*/ 0 h 80201"/>
                  <a:gd name="connsiteX2" fmla="*/ 195479 w 195479"/>
                  <a:gd name="connsiteY2" fmla="*/ 80202 h 80201"/>
                  <a:gd name="connsiteX3" fmla="*/ 181540 w 195479"/>
                  <a:gd name="connsiteY3" fmla="*/ 80202 h 80201"/>
                  <a:gd name="connsiteX4" fmla="*/ 13939 w 195479"/>
                  <a:gd name="connsiteY4" fmla="*/ 80202 h 80201"/>
                  <a:gd name="connsiteX5" fmla="*/ 0 w 195479"/>
                  <a:gd name="connsiteY5" fmla="*/ 80202 h 80201"/>
                  <a:gd name="connsiteX6" fmla="*/ 0 w 195479"/>
                  <a:gd name="connsiteY6" fmla="*/ 0 h 80201"/>
                  <a:gd name="connsiteX7" fmla="*/ 13939 w 195479"/>
                  <a:gd name="connsiteY7" fmla="*/ 0 h 80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79" h="80201">
                    <a:moveTo>
                      <a:pt x="181540" y="0"/>
                    </a:moveTo>
                    <a:cubicBezTo>
                      <a:pt x="189238" y="0"/>
                      <a:pt x="195479" y="0"/>
                      <a:pt x="195479" y="0"/>
                    </a:cubicBezTo>
                    <a:lnTo>
                      <a:pt x="195479" y="80202"/>
                    </a:lnTo>
                    <a:cubicBezTo>
                      <a:pt x="195479" y="80202"/>
                      <a:pt x="189238" y="80202"/>
                      <a:pt x="181540" y="80202"/>
                    </a:cubicBezTo>
                    <a:lnTo>
                      <a:pt x="13939" y="80202"/>
                    </a:lnTo>
                    <a:cubicBezTo>
                      <a:pt x="6241" y="80202"/>
                      <a:pt x="0" y="80202"/>
                      <a:pt x="0" y="80202"/>
                    </a:cubicBezTo>
                    <a:lnTo>
                      <a:pt x="0" y="0"/>
                    </a:lnTo>
                    <a:cubicBezTo>
                      <a:pt x="0" y="0"/>
                      <a:pt x="6241" y="0"/>
                      <a:pt x="13939" y="0"/>
                    </a:cubicBezTo>
                    <a:close/>
                  </a:path>
                </a:pathLst>
              </a:custGeom>
              <a:solidFill>
                <a:srgbClr val="D9D9D9"/>
              </a:solidFill>
              <a:ln w="664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95" name="Freeform: Shape 94">
                <a:extLst>
                  <a:ext uri="{FF2B5EF4-FFF2-40B4-BE49-F238E27FC236}">
                    <a16:creationId xmlns:a16="http://schemas.microsoft.com/office/drawing/2014/main" id="{BA4A4871-86C1-4C5F-AC40-BAFC52FD36D3}"/>
                  </a:ext>
                </a:extLst>
              </p:cNvPr>
              <p:cNvSpPr/>
              <p:nvPr/>
            </p:nvSpPr>
            <p:spPr>
              <a:xfrm>
                <a:off x="11054968" y="790473"/>
                <a:ext cx="256446" cy="245532"/>
              </a:xfrm>
              <a:custGeom>
                <a:avLst/>
                <a:gdLst>
                  <a:gd name="connsiteX0" fmla="*/ 0 w 27944"/>
                  <a:gd name="connsiteY0" fmla="*/ 0 h 26755"/>
                  <a:gd name="connsiteX1" fmla="*/ 27945 w 27944"/>
                  <a:gd name="connsiteY1" fmla="*/ 0 h 26755"/>
                  <a:gd name="connsiteX2" fmla="*/ 27945 w 27944"/>
                  <a:gd name="connsiteY2" fmla="*/ 26755 h 26755"/>
                  <a:gd name="connsiteX3" fmla="*/ 0 w 27944"/>
                  <a:gd name="connsiteY3" fmla="*/ 26755 h 26755"/>
                </a:gdLst>
                <a:ahLst/>
                <a:cxnLst>
                  <a:cxn ang="0">
                    <a:pos x="connsiteX0" y="connsiteY0"/>
                  </a:cxn>
                  <a:cxn ang="0">
                    <a:pos x="connsiteX1" y="connsiteY1"/>
                  </a:cxn>
                  <a:cxn ang="0">
                    <a:pos x="connsiteX2" y="connsiteY2"/>
                  </a:cxn>
                  <a:cxn ang="0">
                    <a:pos x="connsiteX3" y="connsiteY3"/>
                  </a:cxn>
                </a:cxnLst>
                <a:rect l="l" t="t" r="r" b="b"/>
                <a:pathLst>
                  <a:path w="27944" h="26755">
                    <a:moveTo>
                      <a:pt x="0" y="0"/>
                    </a:moveTo>
                    <a:lnTo>
                      <a:pt x="27945" y="0"/>
                    </a:lnTo>
                    <a:lnTo>
                      <a:pt x="27945" y="26755"/>
                    </a:lnTo>
                    <a:lnTo>
                      <a:pt x="0" y="26755"/>
                    </a:lnTo>
                    <a:close/>
                  </a:path>
                </a:pathLst>
              </a:custGeom>
              <a:solidFill>
                <a:schemeClr val="accent1"/>
              </a:solidFill>
              <a:ln w="664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sp>
            <p:nvSpPr>
              <p:cNvPr id="96" name="Freeform: Shape 95">
                <a:extLst>
                  <a:ext uri="{FF2B5EF4-FFF2-40B4-BE49-F238E27FC236}">
                    <a16:creationId xmlns:a16="http://schemas.microsoft.com/office/drawing/2014/main" id="{2832B1C0-62C6-4B5A-A1F7-FD9E59B13FEB}"/>
                  </a:ext>
                </a:extLst>
              </p:cNvPr>
              <p:cNvSpPr/>
              <p:nvPr/>
            </p:nvSpPr>
            <p:spPr>
              <a:xfrm>
                <a:off x="11054968" y="-23239"/>
                <a:ext cx="256446" cy="245532"/>
              </a:xfrm>
              <a:custGeom>
                <a:avLst/>
                <a:gdLst>
                  <a:gd name="connsiteX0" fmla="*/ 0 w 27944"/>
                  <a:gd name="connsiteY0" fmla="*/ 0 h 26755"/>
                  <a:gd name="connsiteX1" fmla="*/ 27945 w 27944"/>
                  <a:gd name="connsiteY1" fmla="*/ 0 h 26755"/>
                  <a:gd name="connsiteX2" fmla="*/ 27945 w 27944"/>
                  <a:gd name="connsiteY2" fmla="*/ 26755 h 26755"/>
                  <a:gd name="connsiteX3" fmla="*/ 0 w 27944"/>
                  <a:gd name="connsiteY3" fmla="*/ 26755 h 26755"/>
                </a:gdLst>
                <a:ahLst/>
                <a:cxnLst>
                  <a:cxn ang="0">
                    <a:pos x="connsiteX0" y="connsiteY0"/>
                  </a:cxn>
                  <a:cxn ang="0">
                    <a:pos x="connsiteX1" y="connsiteY1"/>
                  </a:cxn>
                  <a:cxn ang="0">
                    <a:pos x="connsiteX2" y="connsiteY2"/>
                  </a:cxn>
                  <a:cxn ang="0">
                    <a:pos x="connsiteX3" y="connsiteY3"/>
                  </a:cxn>
                </a:cxnLst>
                <a:rect l="l" t="t" r="r" b="b"/>
                <a:pathLst>
                  <a:path w="27944" h="26755">
                    <a:moveTo>
                      <a:pt x="0" y="0"/>
                    </a:moveTo>
                    <a:lnTo>
                      <a:pt x="27945" y="0"/>
                    </a:lnTo>
                    <a:lnTo>
                      <a:pt x="27945" y="26755"/>
                    </a:lnTo>
                    <a:lnTo>
                      <a:pt x="0" y="26755"/>
                    </a:lnTo>
                    <a:close/>
                  </a:path>
                </a:pathLst>
              </a:custGeom>
              <a:solidFill>
                <a:schemeClr val="accent1"/>
              </a:solidFill>
              <a:ln w="664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endParaRPr>
              </a:p>
            </p:txBody>
          </p:sp>
        </p:grpSp>
      </p:grpSp>
      <p:grpSp>
        <p:nvGrpSpPr>
          <p:cNvPr id="10" name="Group 9">
            <a:extLst>
              <a:ext uri="{FF2B5EF4-FFF2-40B4-BE49-F238E27FC236}">
                <a16:creationId xmlns:a16="http://schemas.microsoft.com/office/drawing/2014/main" id="{74CCEE50-0238-4C33-BA12-57BCF9EE0C8F}"/>
              </a:ext>
            </a:extLst>
          </p:cNvPr>
          <p:cNvGrpSpPr/>
          <p:nvPr/>
        </p:nvGrpSpPr>
        <p:grpSpPr>
          <a:xfrm>
            <a:off x="7142892" y="4033895"/>
            <a:ext cx="750812" cy="540627"/>
            <a:chOff x="7190038" y="3893078"/>
            <a:chExt cx="917333" cy="660532"/>
          </a:xfrm>
        </p:grpSpPr>
        <p:sp>
          <p:nvSpPr>
            <p:cNvPr id="1566" name="Google Shape;1566;p193"/>
            <p:cNvSpPr txBox="1"/>
            <p:nvPr/>
          </p:nvSpPr>
          <p:spPr>
            <a:xfrm>
              <a:off x="7606174" y="4074694"/>
              <a:ext cx="501197" cy="2973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SMS</a:t>
              </a:r>
            </a:p>
          </p:txBody>
        </p:sp>
        <p:pic>
          <p:nvPicPr>
            <p:cNvPr id="5" name="Graphic 4">
              <a:extLst>
                <a:ext uri="{FF2B5EF4-FFF2-40B4-BE49-F238E27FC236}">
                  <a16:creationId xmlns:a16="http://schemas.microsoft.com/office/drawing/2014/main" id="{94D3D99F-2F52-4E0F-B6FB-052EEDA48ABD}"/>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7190038" y="3893078"/>
              <a:ext cx="416136" cy="660532"/>
            </a:xfrm>
            <a:prstGeom prst="rect">
              <a:avLst/>
            </a:prstGeom>
          </p:spPr>
        </p:pic>
      </p:grpSp>
      <p:grpSp>
        <p:nvGrpSpPr>
          <p:cNvPr id="12" name="Group 11">
            <a:extLst>
              <a:ext uri="{FF2B5EF4-FFF2-40B4-BE49-F238E27FC236}">
                <a16:creationId xmlns:a16="http://schemas.microsoft.com/office/drawing/2014/main" id="{9660D699-8C59-4835-AC92-62A3F7BD51D8}"/>
              </a:ext>
            </a:extLst>
          </p:cNvPr>
          <p:cNvGrpSpPr/>
          <p:nvPr/>
        </p:nvGrpSpPr>
        <p:grpSpPr>
          <a:xfrm>
            <a:off x="5200918" y="4042363"/>
            <a:ext cx="1536232" cy="523691"/>
            <a:chOff x="5200919" y="3955597"/>
            <a:chExt cx="1876950" cy="639840"/>
          </a:xfrm>
        </p:grpSpPr>
        <p:pic>
          <p:nvPicPr>
            <p:cNvPr id="2" name="Graphic 1">
              <a:extLst>
                <a:ext uri="{FF2B5EF4-FFF2-40B4-BE49-F238E27FC236}">
                  <a16:creationId xmlns:a16="http://schemas.microsoft.com/office/drawing/2014/main" id="{FD668E21-0C83-4750-A2F5-F307D6F42A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00919" y="3955597"/>
              <a:ext cx="528936" cy="639840"/>
            </a:xfrm>
            <a:prstGeom prst="rect">
              <a:avLst/>
            </a:prstGeom>
          </p:spPr>
        </p:pic>
        <p:sp>
          <p:nvSpPr>
            <p:cNvPr id="30" name="Google Shape;1573;p193">
              <a:extLst>
                <a:ext uri="{FF2B5EF4-FFF2-40B4-BE49-F238E27FC236}">
                  <a16:creationId xmlns:a16="http://schemas.microsoft.com/office/drawing/2014/main" id="{CA98E8A1-07CC-46C9-B5AF-3DE0B660EC8B}"/>
                </a:ext>
              </a:extLst>
            </p:cNvPr>
            <p:cNvSpPr txBox="1"/>
            <p:nvPr/>
          </p:nvSpPr>
          <p:spPr>
            <a:xfrm>
              <a:off x="5825969" y="4126867"/>
              <a:ext cx="1251900" cy="297300"/>
            </a:xfrm>
            <a:prstGeom prst="rect">
              <a:avLst/>
            </a:prstGeom>
            <a:noFill/>
            <a:ln>
              <a:noFill/>
            </a:ln>
          </p:spPr>
          <p:txBody>
            <a:bodyPr spcFirstLastPara="1" wrap="square" lIns="0" tIns="0" rIns="0" bIns="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Hardware </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sym typeface="Helvetica Neue"/>
                </a:rPr>
                <a:t>Tokens</a:t>
              </a:r>
            </a:p>
          </p:txBody>
        </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B77B936-0870-42D8-91A4-8305B062D644}"/>
              </a:ext>
            </a:extLst>
          </p:cNvPr>
          <p:cNvSpPr>
            <a:spLocks noGrp="1"/>
          </p:cNvSpPr>
          <p:nvPr>
            <p:ph type="body" sz="quarter" idx="10"/>
          </p:nvPr>
        </p:nvSpPr>
        <p:spPr/>
        <p:txBody>
          <a:bodyPr/>
          <a:lstStyle/>
          <a:p>
            <a:r>
              <a:rPr lang="en-US" dirty="0">
                <a:sym typeface="Helvetica Neue Light"/>
              </a:rPr>
              <a:t>Every security best practices guide and regulation asks for MFA </a:t>
            </a:r>
            <a:br>
              <a:rPr lang="en-US" dirty="0">
                <a:sym typeface="Helvetica Neue Light"/>
              </a:rPr>
            </a:br>
            <a:r>
              <a:rPr lang="en-US" dirty="0">
                <a:sym typeface="Helvetica Neue Light"/>
              </a:rPr>
              <a:t>and device visibility</a:t>
            </a:r>
            <a:endParaRPr lang="en-US" dirty="0"/>
          </a:p>
        </p:txBody>
      </p:sp>
      <p:sp>
        <p:nvSpPr>
          <p:cNvPr id="3" name="Title 2">
            <a:extLst>
              <a:ext uri="{FF2B5EF4-FFF2-40B4-BE49-F238E27FC236}">
                <a16:creationId xmlns:a16="http://schemas.microsoft.com/office/drawing/2014/main" id="{81B3BC26-6B59-4531-BF83-C9DBB3537462}"/>
              </a:ext>
            </a:extLst>
          </p:cNvPr>
          <p:cNvSpPr>
            <a:spLocks noGrp="1"/>
          </p:cNvSpPr>
          <p:nvPr>
            <p:ph type="title"/>
          </p:nvPr>
        </p:nvSpPr>
        <p:spPr/>
        <p:txBody>
          <a:bodyPr/>
          <a:lstStyle/>
          <a:p>
            <a:r>
              <a:rPr lang="en-US" dirty="0">
                <a:sym typeface="Helvetica Neue"/>
              </a:rPr>
              <a:t>Meet Compliance Requirements</a:t>
            </a:r>
            <a:endParaRPr lang="en-US" dirty="0"/>
          </a:p>
        </p:txBody>
      </p:sp>
      <p:sp>
        <p:nvSpPr>
          <p:cNvPr id="10" name="Google Shape;1532;p191">
            <a:extLst>
              <a:ext uri="{FF2B5EF4-FFF2-40B4-BE49-F238E27FC236}">
                <a16:creationId xmlns:a16="http://schemas.microsoft.com/office/drawing/2014/main" id="{30CFFCCE-5B40-41C5-A183-BB706A489188}"/>
              </a:ext>
            </a:extLst>
          </p:cNvPr>
          <p:cNvSpPr txBox="1"/>
          <p:nvPr/>
        </p:nvSpPr>
        <p:spPr>
          <a:xfrm>
            <a:off x="540391" y="2479972"/>
            <a:ext cx="2328170"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Meet MFA requirements outlined in PCI-DSS 3.2 Section 8.3 </a:t>
            </a:r>
          </a:p>
        </p:txBody>
      </p:sp>
      <p:pic>
        <p:nvPicPr>
          <p:cNvPr id="22" name="Google Shape;1538;p191">
            <a:extLst>
              <a:ext uri="{FF2B5EF4-FFF2-40B4-BE49-F238E27FC236}">
                <a16:creationId xmlns:a16="http://schemas.microsoft.com/office/drawing/2014/main" id="{351217A3-51C3-4E71-BE87-7641BDE822D5}"/>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540391" y="1851749"/>
            <a:ext cx="748599" cy="523525"/>
          </a:xfrm>
          <a:prstGeom prst="rect">
            <a:avLst/>
          </a:prstGeom>
          <a:noFill/>
          <a:ln>
            <a:noFill/>
          </a:ln>
        </p:spPr>
      </p:pic>
      <p:sp>
        <p:nvSpPr>
          <p:cNvPr id="12" name="Google Shape;1533;p191">
            <a:extLst>
              <a:ext uri="{FF2B5EF4-FFF2-40B4-BE49-F238E27FC236}">
                <a16:creationId xmlns:a16="http://schemas.microsoft.com/office/drawing/2014/main" id="{EEB3B3D3-E256-46B4-B9C8-7A3A1F74C7C1}"/>
              </a:ext>
            </a:extLst>
          </p:cNvPr>
          <p:cNvSpPr txBox="1"/>
          <p:nvPr/>
        </p:nvSpPr>
        <p:spPr>
          <a:xfrm>
            <a:off x="3216098" y="2479972"/>
            <a:ext cx="2543146"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Helps meet NIST 800-63 and 800-171 access security requirements</a:t>
            </a:r>
          </a:p>
        </p:txBody>
      </p:sp>
      <p:pic>
        <p:nvPicPr>
          <p:cNvPr id="24" name="Google Shape;1539;p191">
            <a:extLst>
              <a:ext uri="{FF2B5EF4-FFF2-40B4-BE49-F238E27FC236}">
                <a16:creationId xmlns:a16="http://schemas.microsoft.com/office/drawing/2014/main" id="{2361BD90-ACBD-4984-964B-850B5D94D5D8}"/>
              </a:ext>
            </a:extLst>
          </p:cNvPr>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3216098" y="2156939"/>
            <a:ext cx="806888" cy="218335"/>
          </a:xfrm>
          <a:prstGeom prst="rect">
            <a:avLst/>
          </a:prstGeom>
          <a:noFill/>
          <a:ln>
            <a:noFill/>
          </a:ln>
        </p:spPr>
      </p:pic>
      <p:sp>
        <p:nvSpPr>
          <p:cNvPr id="14" name="Google Shape;1534;p191">
            <a:extLst>
              <a:ext uri="{FF2B5EF4-FFF2-40B4-BE49-F238E27FC236}">
                <a16:creationId xmlns:a16="http://schemas.microsoft.com/office/drawing/2014/main" id="{3308F27A-6F9D-47E9-B385-9800127F0E3B}"/>
              </a:ext>
            </a:extLst>
          </p:cNvPr>
          <p:cNvSpPr txBox="1"/>
          <p:nvPr/>
        </p:nvSpPr>
        <p:spPr>
          <a:xfrm>
            <a:off x="6106782" y="2479972"/>
            <a:ext cx="2543146"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Meet DEA’s EPCS requirements </a:t>
            </a:r>
            <a:b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b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when approving e-prescriptions</a:t>
            </a:r>
          </a:p>
        </p:txBody>
      </p:sp>
      <p:pic>
        <p:nvPicPr>
          <p:cNvPr id="26" name="Google Shape;1540;p191">
            <a:extLst>
              <a:ext uri="{FF2B5EF4-FFF2-40B4-BE49-F238E27FC236}">
                <a16:creationId xmlns:a16="http://schemas.microsoft.com/office/drawing/2014/main" id="{27B0E659-7456-40CC-8180-3675E13FFCCF}"/>
              </a:ext>
            </a:extLst>
          </p:cNvPr>
          <p:cNvPicPr preferRelativeResize="0"/>
          <p:nvPr/>
        </p:nvPicPr>
        <p:blipFill rotWithShape="1">
          <a:blip r:embed="rId5" cstate="print">
            <a:alphaModFix/>
            <a:extLst>
              <a:ext uri="{28A0092B-C50C-407E-A947-70E740481C1C}">
                <a14:useLocalDpi xmlns:a14="http://schemas.microsoft.com/office/drawing/2010/main"/>
              </a:ext>
            </a:extLst>
          </a:blip>
          <a:srcRect/>
          <a:stretch/>
        </p:blipFill>
        <p:spPr>
          <a:xfrm>
            <a:off x="6106782" y="1733670"/>
            <a:ext cx="635077" cy="641604"/>
          </a:xfrm>
          <a:prstGeom prst="rect">
            <a:avLst/>
          </a:prstGeom>
          <a:noFill/>
          <a:ln>
            <a:noFill/>
          </a:ln>
        </p:spPr>
      </p:pic>
      <p:sp>
        <p:nvSpPr>
          <p:cNvPr id="20" name="Google Shape;1537;p191">
            <a:extLst>
              <a:ext uri="{FF2B5EF4-FFF2-40B4-BE49-F238E27FC236}">
                <a16:creationId xmlns:a16="http://schemas.microsoft.com/office/drawing/2014/main" id="{9413264C-3CB8-4E4F-AAC5-2193723DCD36}"/>
              </a:ext>
            </a:extLst>
          </p:cNvPr>
          <p:cNvSpPr txBox="1"/>
          <p:nvPr/>
        </p:nvSpPr>
        <p:spPr>
          <a:xfrm>
            <a:off x="6106782" y="3962187"/>
            <a:ext cx="2303874"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Get visibility into personal devices used to access PHI</a:t>
            </a:r>
          </a:p>
        </p:txBody>
      </p:sp>
      <p:pic>
        <p:nvPicPr>
          <p:cNvPr id="28" name="Google Shape;1541;p191">
            <a:extLst>
              <a:ext uri="{FF2B5EF4-FFF2-40B4-BE49-F238E27FC236}">
                <a16:creationId xmlns:a16="http://schemas.microsoft.com/office/drawing/2014/main" id="{5059E6FF-C078-46D7-A7F5-07C1577A8343}"/>
              </a:ext>
            </a:extLst>
          </p:cNvPr>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6106782" y="3427720"/>
            <a:ext cx="765614" cy="429769"/>
          </a:xfrm>
          <a:prstGeom prst="rect">
            <a:avLst/>
          </a:prstGeom>
          <a:noFill/>
          <a:ln>
            <a:noFill/>
          </a:ln>
        </p:spPr>
      </p:pic>
      <p:sp>
        <p:nvSpPr>
          <p:cNvPr id="16" name="Google Shape;1535;p191">
            <a:extLst>
              <a:ext uri="{FF2B5EF4-FFF2-40B4-BE49-F238E27FC236}">
                <a16:creationId xmlns:a16="http://schemas.microsoft.com/office/drawing/2014/main" id="{B43445D6-B405-4417-9CE0-E0D5ACD78B41}"/>
              </a:ext>
            </a:extLst>
          </p:cNvPr>
          <p:cNvSpPr txBox="1"/>
          <p:nvPr/>
        </p:nvSpPr>
        <p:spPr>
          <a:xfrm>
            <a:off x="540391" y="3962187"/>
            <a:ext cx="2515927"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Aligned with GDPR data protection laws in Europe</a:t>
            </a:r>
          </a:p>
        </p:txBody>
      </p:sp>
      <p:pic>
        <p:nvPicPr>
          <p:cNvPr id="30" name="Google Shape;1542;p191">
            <a:extLst>
              <a:ext uri="{FF2B5EF4-FFF2-40B4-BE49-F238E27FC236}">
                <a16:creationId xmlns:a16="http://schemas.microsoft.com/office/drawing/2014/main" id="{9CA0BFFD-E3C6-4F80-91F5-03BDA92A781D}"/>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40391" y="3125669"/>
            <a:ext cx="725317" cy="731820"/>
          </a:xfrm>
          <a:prstGeom prst="rect">
            <a:avLst/>
          </a:prstGeom>
          <a:noFill/>
          <a:ln>
            <a:noFill/>
          </a:ln>
        </p:spPr>
      </p:pic>
      <p:sp>
        <p:nvSpPr>
          <p:cNvPr id="18" name="Google Shape;1536;p191">
            <a:extLst>
              <a:ext uri="{FF2B5EF4-FFF2-40B4-BE49-F238E27FC236}">
                <a16:creationId xmlns:a16="http://schemas.microsoft.com/office/drawing/2014/main" id="{1CDDEFFC-6EC6-43BA-8C3C-5DB2AA57731B}"/>
              </a:ext>
            </a:extLst>
          </p:cNvPr>
          <p:cNvSpPr txBox="1"/>
          <p:nvPr/>
        </p:nvSpPr>
        <p:spPr>
          <a:xfrm>
            <a:off x="3216098" y="3962187"/>
            <a:ext cx="2303874" cy="553968"/>
          </a:xfrm>
          <a:prstGeom prst="rect">
            <a:avLst/>
          </a:prstGeom>
          <a:noFill/>
          <a:ln>
            <a:noFill/>
          </a:ln>
        </p:spPr>
        <p:txBody>
          <a:bodyPr spcFirstLastPara="1" wrap="square" lIns="0" tIns="91425" rIns="0" bIns="91425" anchor="t" anchorCtr="0">
            <a:spAutoFit/>
          </a:bodyPr>
          <a:lstStyle/>
          <a:p>
            <a:pPr marL="0" marR="0" lvl="0" indent="0" algn="l" defTabSz="457200" rtl="0" eaLnBrk="1" fontAlgn="base"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Helvetica Neue"/>
                <a:cs typeface="CiscoSansTT" panose="020B0503020201020303" pitchFamily="34" charset="0"/>
                <a:sym typeface="Helvetica Neue"/>
              </a:rPr>
              <a:t>Meet FFIEC requirements for financial applications</a:t>
            </a:r>
          </a:p>
        </p:txBody>
      </p:sp>
      <p:pic>
        <p:nvPicPr>
          <p:cNvPr id="43" name="Picture 42">
            <a:extLst>
              <a:ext uri="{FF2B5EF4-FFF2-40B4-BE49-F238E27FC236}">
                <a16:creationId xmlns:a16="http://schemas.microsoft.com/office/drawing/2014/main" id="{1336FB6E-F9DA-4E5D-937B-71A66CA1CB94}"/>
              </a:ext>
            </a:extLst>
          </p:cNvPr>
          <p:cNvPicPr preferRelativeResize="0"/>
          <p:nvPr/>
        </p:nvPicPr>
        <p:blipFill rotWithShape="1">
          <a:blip r:embed="rId8" cstate="print">
            <a:alphaModFix amt="98000"/>
            <a:extLst>
              <a:ext uri="{28A0092B-C50C-407E-A947-70E740481C1C}">
                <a14:useLocalDpi xmlns:a14="http://schemas.microsoft.com/office/drawing/2010/main"/>
              </a:ext>
            </a:extLst>
          </a:blip>
          <a:srcRect/>
          <a:stretch/>
        </p:blipFill>
        <p:spPr>
          <a:xfrm>
            <a:off x="3216098" y="3232801"/>
            <a:ext cx="624688" cy="624688"/>
          </a:xfrm>
          <a:custGeom>
            <a:avLst/>
            <a:gdLst>
              <a:gd name="connsiteX0" fmla="*/ 312344 w 624688"/>
              <a:gd name="connsiteY0" fmla="*/ 0 h 624688"/>
              <a:gd name="connsiteX1" fmla="*/ 624688 w 624688"/>
              <a:gd name="connsiteY1" fmla="*/ 312344 h 624688"/>
              <a:gd name="connsiteX2" fmla="*/ 312344 w 624688"/>
              <a:gd name="connsiteY2" fmla="*/ 624688 h 624688"/>
              <a:gd name="connsiteX3" fmla="*/ 0 w 624688"/>
              <a:gd name="connsiteY3" fmla="*/ 312344 h 624688"/>
              <a:gd name="connsiteX4" fmla="*/ 312344 w 624688"/>
              <a:gd name="connsiteY4" fmla="*/ 0 h 624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88" h="624688">
                <a:moveTo>
                  <a:pt x="312344" y="0"/>
                </a:moveTo>
                <a:cubicBezTo>
                  <a:pt x="484847" y="0"/>
                  <a:pt x="624688" y="139841"/>
                  <a:pt x="624688" y="312344"/>
                </a:cubicBezTo>
                <a:cubicBezTo>
                  <a:pt x="624688" y="484847"/>
                  <a:pt x="484847" y="624688"/>
                  <a:pt x="312344" y="624688"/>
                </a:cubicBezTo>
                <a:cubicBezTo>
                  <a:pt x="139841" y="624688"/>
                  <a:pt x="0" y="484847"/>
                  <a:pt x="0" y="312344"/>
                </a:cubicBezTo>
                <a:cubicBezTo>
                  <a:pt x="0" y="139841"/>
                  <a:pt x="139841" y="0"/>
                  <a:pt x="312344" y="0"/>
                </a:cubicBezTo>
                <a:close/>
              </a:path>
            </a:pathLst>
          </a:custGeom>
          <a:noFill/>
          <a:ln>
            <a:noFill/>
          </a:ln>
        </p:spPr>
      </p:pic>
    </p:spTree>
    <p:extLst>
      <p:ext uri="{BB962C8B-B14F-4D97-AF65-F5344CB8AC3E}">
        <p14:creationId xmlns:p14="http://schemas.microsoft.com/office/powerpoint/2010/main" val="7906863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599"/>
        <p:cNvGrpSpPr/>
        <p:nvPr/>
      </p:nvGrpSpPr>
      <p:grpSpPr>
        <a:xfrm>
          <a:off x="0" y="0"/>
          <a:ext cx="0" cy="0"/>
          <a:chOff x="0" y="0"/>
          <a:chExt cx="0" cy="0"/>
        </a:xfrm>
      </p:grpSpPr>
      <p:sp>
        <p:nvSpPr>
          <p:cNvPr id="1605" name="Google Shape;1605;p195"/>
          <p:cNvSpPr/>
          <p:nvPr/>
        </p:nvSpPr>
        <p:spPr>
          <a:xfrm>
            <a:off x="7503393" y="2043506"/>
            <a:ext cx="11451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REST </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APIS</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sp>
        <p:nvSpPr>
          <p:cNvPr id="1606" name="Google Shape;1606;p195"/>
          <p:cNvSpPr/>
          <p:nvPr/>
        </p:nvSpPr>
        <p:spPr>
          <a:xfrm>
            <a:off x="7503393" y="2479794"/>
            <a:ext cx="11451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WEB SDK</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sp>
        <p:nvSpPr>
          <p:cNvPr id="1607" name="Google Shape;1607;p195"/>
          <p:cNvSpPr/>
          <p:nvPr/>
        </p:nvSpPr>
        <p:spPr>
          <a:xfrm>
            <a:off x="7503393" y="2916082"/>
            <a:ext cx="11451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RADIUS</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sp>
        <p:nvSpPr>
          <p:cNvPr id="1608" name="Google Shape;1608;p195"/>
          <p:cNvSpPr/>
          <p:nvPr/>
        </p:nvSpPr>
        <p:spPr>
          <a:xfrm>
            <a:off x="7503393" y="3352370"/>
            <a:ext cx="11451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SAML</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sp>
        <p:nvSpPr>
          <p:cNvPr id="1609" name="Google Shape;1609;p195"/>
          <p:cNvSpPr/>
          <p:nvPr/>
        </p:nvSpPr>
        <p:spPr>
          <a:xfrm>
            <a:off x="7503393" y="3788659"/>
            <a:ext cx="11451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OIDC</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sp>
        <p:nvSpPr>
          <p:cNvPr id="1610" name="Google Shape;1610;p195"/>
          <p:cNvSpPr/>
          <p:nvPr/>
        </p:nvSpPr>
        <p:spPr>
          <a:xfrm>
            <a:off x="7437237" y="1492603"/>
            <a:ext cx="1328400" cy="361800"/>
          </a:xfrm>
          <a:prstGeom prst="roundRect">
            <a:avLst>
              <a:gd name="adj" fmla="val 50000"/>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rPr>
              <a:t>Custom</a:t>
            </a:r>
            <a:endParaRPr kumimoji="0"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endParaRPr>
          </a:p>
        </p:txBody>
      </p:sp>
      <p:sp>
        <p:nvSpPr>
          <p:cNvPr id="1612" name="Google Shape;1612;p195"/>
          <p:cNvSpPr/>
          <p:nvPr/>
        </p:nvSpPr>
        <p:spPr>
          <a:xfrm>
            <a:off x="389247" y="1492603"/>
            <a:ext cx="1328400" cy="361800"/>
          </a:xfrm>
          <a:prstGeom prst="roundRect">
            <a:avLst>
              <a:gd name="adj" fmla="val 50000"/>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0D274D"/>
                </a:solidFill>
                <a:effectLst/>
                <a:uLnTx/>
                <a:uFillTx/>
                <a:latin typeface="CiscoSansTT" panose="020B0803020201020303" pitchFamily="34" charset="0"/>
                <a:ea typeface="Helvetica Neue"/>
                <a:cs typeface="Arial" panose="020B0604020202020204" pitchFamily="34" charset="0"/>
                <a:sym typeface="Helvetica Neue"/>
              </a:rPr>
              <a:t>VPN RA</a:t>
            </a:r>
            <a:endParaRPr kumimoji="0" sz="1400" b="0" i="0" u="none" strike="noStrike" kern="1200" cap="none" spc="0" normalizeH="0" baseline="0" noProof="0" dirty="0">
              <a:ln>
                <a:noFill/>
              </a:ln>
              <a:solidFill>
                <a:srgbClr val="0D274D"/>
              </a:solidFill>
              <a:effectLst/>
              <a:uLnTx/>
              <a:uFillTx/>
              <a:latin typeface="CiscoSansTT" panose="020B0803020201020303" pitchFamily="34" charset="0"/>
              <a:ea typeface="Helvetica Neue"/>
              <a:cs typeface="Arial" panose="020B0604020202020204" pitchFamily="34" charset="0"/>
              <a:sym typeface="Helvetica Neue"/>
            </a:endParaRPr>
          </a:p>
        </p:txBody>
      </p:sp>
      <p:pic>
        <p:nvPicPr>
          <p:cNvPr id="1613" name="Google Shape;1613;p195"/>
          <p:cNvPicPr preferRelativeResize="0"/>
          <p:nvPr/>
        </p:nvPicPr>
        <p:blipFill rotWithShape="1">
          <a:blip r:embed="rId3">
            <a:alphaModFix/>
          </a:blip>
          <a:srcRect/>
          <a:stretch/>
        </p:blipFill>
        <p:spPr>
          <a:xfrm>
            <a:off x="746251" y="2967872"/>
            <a:ext cx="646415" cy="250609"/>
          </a:xfrm>
          <a:prstGeom prst="rect">
            <a:avLst/>
          </a:prstGeom>
          <a:noFill/>
          <a:ln>
            <a:noFill/>
          </a:ln>
        </p:spPr>
      </p:pic>
      <p:pic>
        <p:nvPicPr>
          <p:cNvPr id="1614" name="Google Shape;1614;p195"/>
          <p:cNvPicPr preferRelativeResize="0"/>
          <p:nvPr/>
        </p:nvPicPr>
        <p:blipFill rotWithShape="1">
          <a:blip r:embed="rId4">
            <a:alphaModFix/>
          </a:blip>
          <a:srcRect/>
          <a:stretch/>
        </p:blipFill>
        <p:spPr>
          <a:xfrm>
            <a:off x="699116" y="2534591"/>
            <a:ext cx="778234" cy="231258"/>
          </a:xfrm>
          <a:prstGeom prst="rect">
            <a:avLst/>
          </a:prstGeom>
          <a:noFill/>
          <a:ln>
            <a:noFill/>
          </a:ln>
        </p:spPr>
      </p:pic>
      <p:pic>
        <p:nvPicPr>
          <p:cNvPr id="1615" name="Google Shape;1615;p195"/>
          <p:cNvPicPr preferRelativeResize="0"/>
          <p:nvPr/>
        </p:nvPicPr>
        <p:blipFill rotWithShape="1">
          <a:blip r:embed="rId5">
            <a:alphaModFix/>
          </a:blip>
          <a:srcRect/>
          <a:stretch/>
        </p:blipFill>
        <p:spPr>
          <a:xfrm>
            <a:off x="2113308" y="2034403"/>
            <a:ext cx="689101" cy="272925"/>
          </a:xfrm>
          <a:prstGeom prst="rect">
            <a:avLst/>
          </a:prstGeom>
          <a:noFill/>
          <a:ln>
            <a:noFill/>
          </a:ln>
        </p:spPr>
      </p:pic>
      <p:pic>
        <p:nvPicPr>
          <p:cNvPr id="1616" name="Google Shape;1616;p195"/>
          <p:cNvPicPr preferRelativeResize="0"/>
          <p:nvPr/>
        </p:nvPicPr>
        <p:blipFill rotWithShape="1">
          <a:blip r:embed="rId6">
            <a:alphaModFix/>
          </a:blip>
          <a:srcRect/>
          <a:stretch/>
        </p:blipFill>
        <p:spPr>
          <a:xfrm>
            <a:off x="2160820" y="2969839"/>
            <a:ext cx="567142" cy="358248"/>
          </a:xfrm>
          <a:prstGeom prst="rect">
            <a:avLst/>
          </a:prstGeom>
          <a:noFill/>
          <a:ln>
            <a:noFill/>
          </a:ln>
        </p:spPr>
      </p:pic>
      <p:sp>
        <p:nvSpPr>
          <p:cNvPr id="1618" name="Google Shape;1618;p195"/>
          <p:cNvSpPr/>
          <p:nvPr/>
        </p:nvSpPr>
        <p:spPr>
          <a:xfrm>
            <a:off x="5998843" y="1485765"/>
            <a:ext cx="1371544" cy="361800"/>
          </a:xfrm>
          <a:prstGeom prst="roundRect">
            <a:avLst>
              <a:gd name="adj" fmla="val 50000"/>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rPr>
              <a:t>SSO</a:t>
            </a:r>
            <a:endParaRPr kumimoji="0"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endParaRPr>
          </a:p>
        </p:txBody>
      </p:sp>
      <p:pic>
        <p:nvPicPr>
          <p:cNvPr id="1619" name="Google Shape;1619;p195"/>
          <p:cNvPicPr preferRelativeResize="0"/>
          <p:nvPr/>
        </p:nvPicPr>
        <p:blipFill rotWithShape="1">
          <a:blip r:embed="rId7">
            <a:alphaModFix/>
          </a:blip>
          <a:srcRect/>
          <a:stretch/>
        </p:blipFill>
        <p:spPr>
          <a:xfrm>
            <a:off x="6263259" y="3843968"/>
            <a:ext cx="842698" cy="208051"/>
          </a:xfrm>
          <a:prstGeom prst="rect">
            <a:avLst/>
          </a:prstGeom>
          <a:noFill/>
          <a:ln>
            <a:noFill/>
          </a:ln>
        </p:spPr>
      </p:pic>
      <p:pic>
        <p:nvPicPr>
          <p:cNvPr id="1620" name="Google Shape;1620;p195"/>
          <p:cNvPicPr preferRelativeResize="0"/>
          <p:nvPr/>
        </p:nvPicPr>
        <p:blipFill rotWithShape="1">
          <a:blip r:embed="rId8">
            <a:alphaModFix/>
          </a:blip>
          <a:srcRect/>
          <a:stretch/>
        </p:blipFill>
        <p:spPr>
          <a:xfrm>
            <a:off x="6356389" y="2981855"/>
            <a:ext cx="633185" cy="237148"/>
          </a:xfrm>
          <a:prstGeom prst="rect">
            <a:avLst/>
          </a:prstGeom>
          <a:noFill/>
          <a:ln>
            <a:noFill/>
          </a:ln>
        </p:spPr>
      </p:pic>
      <p:pic>
        <p:nvPicPr>
          <p:cNvPr id="1621" name="Google Shape;1621;p195"/>
          <p:cNvPicPr preferRelativeResize="0"/>
          <p:nvPr/>
        </p:nvPicPr>
        <p:blipFill rotWithShape="1">
          <a:blip r:embed="rId9">
            <a:alphaModFix/>
          </a:blip>
          <a:srcRect/>
          <a:stretch/>
        </p:blipFill>
        <p:spPr>
          <a:xfrm>
            <a:off x="6243171" y="3419468"/>
            <a:ext cx="882876" cy="224037"/>
          </a:xfrm>
          <a:prstGeom prst="rect">
            <a:avLst/>
          </a:prstGeom>
          <a:noFill/>
          <a:ln>
            <a:noFill/>
          </a:ln>
        </p:spPr>
      </p:pic>
      <p:pic>
        <p:nvPicPr>
          <p:cNvPr id="1622" name="Google Shape;1622;p195"/>
          <p:cNvPicPr preferRelativeResize="0"/>
          <p:nvPr/>
        </p:nvPicPr>
        <p:blipFill rotWithShape="1">
          <a:blip r:embed="rId10">
            <a:alphaModFix/>
          </a:blip>
          <a:srcRect/>
          <a:stretch/>
        </p:blipFill>
        <p:spPr>
          <a:xfrm>
            <a:off x="6284354" y="2516285"/>
            <a:ext cx="893680" cy="265105"/>
          </a:xfrm>
          <a:prstGeom prst="rect">
            <a:avLst/>
          </a:prstGeom>
          <a:noFill/>
          <a:ln>
            <a:noFill/>
          </a:ln>
        </p:spPr>
      </p:pic>
      <p:pic>
        <p:nvPicPr>
          <p:cNvPr id="1623" name="Google Shape;1623;p195"/>
          <p:cNvPicPr preferRelativeResize="0"/>
          <p:nvPr/>
        </p:nvPicPr>
        <p:blipFill rotWithShape="1">
          <a:blip r:embed="rId11">
            <a:alphaModFix/>
          </a:blip>
          <a:srcRect/>
          <a:stretch/>
        </p:blipFill>
        <p:spPr>
          <a:xfrm>
            <a:off x="3372817" y="2085433"/>
            <a:ext cx="904311" cy="209579"/>
          </a:xfrm>
          <a:prstGeom prst="rect">
            <a:avLst/>
          </a:prstGeom>
          <a:noFill/>
          <a:ln>
            <a:noFill/>
          </a:ln>
        </p:spPr>
      </p:pic>
      <p:pic>
        <p:nvPicPr>
          <p:cNvPr id="1624" name="Google Shape;1624;p195"/>
          <p:cNvPicPr preferRelativeResize="0"/>
          <p:nvPr/>
        </p:nvPicPr>
        <p:blipFill rotWithShape="1">
          <a:blip r:embed="rId12">
            <a:alphaModFix/>
          </a:blip>
          <a:srcRect/>
          <a:stretch/>
        </p:blipFill>
        <p:spPr>
          <a:xfrm>
            <a:off x="3367530" y="3437774"/>
            <a:ext cx="954804" cy="236756"/>
          </a:xfrm>
          <a:prstGeom prst="rect">
            <a:avLst/>
          </a:prstGeom>
          <a:noFill/>
          <a:ln>
            <a:noFill/>
          </a:ln>
        </p:spPr>
      </p:pic>
      <p:pic>
        <p:nvPicPr>
          <p:cNvPr id="1625" name="Google Shape;1625;p195"/>
          <p:cNvPicPr preferRelativeResize="0"/>
          <p:nvPr/>
        </p:nvPicPr>
        <p:blipFill rotWithShape="1">
          <a:blip r:embed="rId13">
            <a:alphaModFix/>
          </a:blip>
          <a:srcRect/>
          <a:stretch/>
        </p:blipFill>
        <p:spPr>
          <a:xfrm>
            <a:off x="3341119" y="2902098"/>
            <a:ext cx="961833" cy="384733"/>
          </a:xfrm>
          <a:prstGeom prst="rect">
            <a:avLst/>
          </a:prstGeom>
          <a:noFill/>
          <a:ln>
            <a:noFill/>
          </a:ln>
        </p:spPr>
      </p:pic>
      <p:sp>
        <p:nvSpPr>
          <p:cNvPr id="1626" name="Google Shape;1626;p195"/>
          <p:cNvSpPr/>
          <p:nvPr/>
        </p:nvSpPr>
        <p:spPr>
          <a:xfrm>
            <a:off x="3373566" y="3787766"/>
            <a:ext cx="951600" cy="279300"/>
          </a:xfrm>
          <a:prstGeom prst="roundRect">
            <a:avLst>
              <a:gd name="adj" fmla="val 17375"/>
            </a:avLst>
          </a:prstGeom>
          <a:noFill/>
          <a:ln>
            <a:noFill/>
          </a:ln>
        </p:spPr>
        <p:txBody>
          <a:bodyPr spcFirstLastPara="1" wrap="square" lIns="91425" tIns="91425" rIns="91425" bIns="91425" anchor="ctr" anchorCtr="0">
            <a:noAutofit/>
          </a:bodyPr>
          <a:lstStyle/>
          <a:p>
            <a:pPr marL="0" marR="0" lvl="0" indent="0" algn="ctr" defTabSz="457200" rtl="0" eaLnBrk="1" fontAlgn="base"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rPr>
              <a:t>RRAS</a:t>
            </a:r>
            <a:endParaRPr kumimoji="0" sz="1200" b="0" i="0" u="none" strike="noStrike" kern="1200" cap="none" spc="0" normalizeH="0" baseline="0" noProof="0">
              <a:ln>
                <a:noFill/>
              </a:ln>
              <a:solidFill>
                <a:srgbClr val="0D274D"/>
              </a:solidFill>
              <a:effectLst/>
              <a:uLnTx/>
              <a:uFillTx/>
              <a:latin typeface="CiscoSansTT ExtraLight" panose="020B0303020201020303" pitchFamily="34" charset="0"/>
              <a:ea typeface="Helvetica Neue"/>
              <a:cs typeface="Arial" panose="020B0604020202020204" pitchFamily="34" charset="0"/>
              <a:sym typeface="Helvetica Neue"/>
            </a:endParaRPr>
          </a:p>
        </p:txBody>
      </p:sp>
      <p:pic>
        <p:nvPicPr>
          <p:cNvPr id="1627" name="Google Shape;1627;p195"/>
          <p:cNvPicPr preferRelativeResize="0"/>
          <p:nvPr/>
        </p:nvPicPr>
        <p:blipFill rotWithShape="1">
          <a:blip r:embed="rId14">
            <a:alphaModFix/>
          </a:blip>
          <a:srcRect/>
          <a:stretch/>
        </p:blipFill>
        <p:spPr>
          <a:xfrm>
            <a:off x="4879096" y="3808591"/>
            <a:ext cx="823571" cy="272460"/>
          </a:xfrm>
          <a:prstGeom prst="rect">
            <a:avLst/>
          </a:prstGeom>
          <a:noFill/>
          <a:ln>
            <a:noFill/>
          </a:ln>
        </p:spPr>
      </p:pic>
      <p:pic>
        <p:nvPicPr>
          <p:cNvPr id="1628" name="Google Shape;1628;p195"/>
          <p:cNvPicPr preferRelativeResize="0"/>
          <p:nvPr/>
        </p:nvPicPr>
        <p:blipFill rotWithShape="1">
          <a:blip r:embed="rId15">
            <a:alphaModFix/>
          </a:blip>
          <a:srcRect/>
          <a:stretch/>
        </p:blipFill>
        <p:spPr>
          <a:xfrm>
            <a:off x="4879095" y="2462025"/>
            <a:ext cx="737466" cy="239519"/>
          </a:xfrm>
          <a:prstGeom prst="rect">
            <a:avLst/>
          </a:prstGeom>
          <a:noFill/>
          <a:ln>
            <a:noFill/>
          </a:ln>
        </p:spPr>
      </p:pic>
      <p:pic>
        <p:nvPicPr>
          <p:cNvPr id="1629" name="Google Shape;1629;p195"/>
          <p:cNvPicPr preferRelativeResize="0"/>
          <p:nvPr/>
        </p:nvPicPr>
        <p:blipFill rotWithShape="1">
          <a:blip r:embed="rId16">
            <a:alphaModFix/>
          </a:blip>
          <a:srcRect/>
          <a:stretch/>
        </p:blipFill>
        <p:spPr>
          <a:xfrm>
            <a:off x="4969389" y="2038668"/>
            <a:ext cx="647172" cy="282659"/>
          </a:xfrm>
          <a:prstGeom prst="rect">
            <a:avLst/>
          </a:prstGeom>
          <a:noFill/>
          <a:ln>
            <a:noFill/>
          </a:ln>
        </p:spPr>
      </p:pic>
      <p:pic>
        <p:nvPicPr>
          <p:cNvPr id="1630" name="Google Shape;1630;p195"/>
          <p:cNvPicPr preferRelativeResize="0"/>
          <p:nvPr/>
        </p:nvPicPr>
        <p:blipFill rotWithShape="1">
          <a:blip r:embed="rId17">
            <a:alphaModFix/>
          </a:blip>
          <a:srcRect/>
          <a:stretch/>
        </p:blipFill>
        <p:spPr>
          <a:xfrm>
            <a:off x="4965524" y="2879950"/>
            <a:ext cx="696472" cy="316579"/>
          </a:xfrm>
          <a:prstGeom prst="rect">
            <a:avLst/>
          </a:prstGeom>
          <a:noFill/>
          <a:ln>
            <a:noFill/>
          </a:ln>
        </p:spPr>
      </p:pic>
      <p:sp>
        <p:nvSpPr>
          <p:cNvPr id="1631" name="Google Shape;1631;p195"/>
          <p:cNvSpPr/>
          <p:nvPr/>
        </p:nvSpPr>
        <p:spPr>
          <a:xfrm>
            <a:off x="1943448" y="1525208"/>
            <a:ext cx="1082400" cy="307800"/>
          </a:xfrm>
          <a:prstGeom prst="rect">
            <a:avLst/>
          </a:prstGeom>
          <a:noFill/>
          <a:ln>
            <a:noFill/>
          </a:ln>
        </p:spPr>
        <p:txBody>
          <a:bodyPr spcFirstLastPara="1" wrap="square" lIns="0" tIns="0" rIns="0" bIns="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D274D"/>
                </a:solidFill>
                <a:effectLst/>
                <a:uLnTx/>
                <a:uFillTx/>
                <a:latin typeface="CiscoSansTT" panose="020B0803020201020303" pitchFamily="34" charset="0"/>
                <a:ea typeface="Helvetica Neue"/>
                <a:cs typeface="Arial" panose="020B0604020202020204" pitchFamily="34" charset="0"/>
                <a:sym typeface="Helvetica Neue"/>
              </a:rPr>
              <a:t>Multicloud</a:t>
            </a:r>
            <a:endParaRPr kumimoji="0" sz="1400" b="0" i="0" u="none" strike="noStrike" kern="1200" cap="none" spc="0" normalizeH="0" baseline="0" noProof="0" dirty="0">
              <a:ln>
                <a:noFill/>
              </a:ln>
              <a:solidFill>
                <a:srgbClr val="0D274D"/>
              </a:solidFill>
              <a:effectLst/>
              <a:uLnTx/>
              <a:uFillTx/>
              <a:latin typeface="CiscoSansTT" panose="020B0803020201020303" pitchFamily="34" charset="0"/>
              <a:ea typeface="ＭＳ Ｐゴシック" charset="0"/>
              <a:cs typeface="Arial" panose="020B0604020202020204" pitchFamily="34" charset="0"/>
              <a:sym typeface="Arial"/>
            </a:endParaRPr>
          </a:p>
        </p:txBody>
      </p:sp>
      <p:sp>
        <p:nvSpPr>
          <p:cNvPr id="1632" name="Google Shape;1632;p195"/>
          <p:cNvSpPr/>
          <p:nvPr/>
        </p:nvSpPr>
        <p:spPr>
          <a:xfrm>
            <a:off x="3266065" y="1512795"/>
            <a:ext cx="1221900" cy="3078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74D"/>
                </a:solidFill>
                <a:effectLst/>
                <a:uLnTx/>
                <a:uFillTx/>
                <a:latin typeface="CiscoSansTT" panose="020B0803020201020303" pitchFamily="34" charset="0"/>
                <a:ea typeface="Helvetica Neue"/>
                <a:cs typeface="Arial" panose="020B0604020202020204" pitchFamily="34" charset="0"/>
                <a:sym typeface="Helvetica Neue"/>
              </a:rPr>
              <a:t>Email/MSFT</a:t>
            </a:r>
            <a:endParaRPr kumimoji="0" sz="1800" b="0" i="0" u="none" strike="noStrike" kern="1200" cap="none" spc="0" normalizeH="0" baseline="0" noProof="0" dirty="0">
              <a:ln>
                <a:noFill/>
              </a:ln>
              <a:solidFill>
                <a:srgbClr val="0D274D"/>
              </a:solidFill>
              <a:effectLst/>
              <a:uLnTx/>
              <a:uFillTx/>
              <a:latin typeface="CiscoSansTT" panose="020B0803020201020303" pitchFamily="34" charset="0"/>
              <a:ea typeface="ＭＳ Ｐゴシック" charset="0"/>
              <a:cs typeface="Arial" panose="020B0604020202020204" pitchFamily="34" charset="0"/>
            </a:endParaRPr>
          </a:p>
        </p:txBody>
      </p:sp>
      <p:sp>
        <p:nvSpPr>
          <p:cNvPr id="1633" name="Google Shape;1633;p195"/>
          <p:cNvSpPr/>
          <p:nvPr/>
        </p:nvSpPr>
        <p:spPr>
          <a:xfrm>
            <a:off x="4735934" y="1512795"/>
            <a:ext cx="958800" cy="307800"/>
          </a:xfrm>
          <a:prstGeom prst="rect">
            <a:avLst/>
          </a:prstGeom>
          <a:noFill/>
          <a:ln>
            <a:noFill/>
          </a:ln>
        </p:spPr>
        <p:txBody>
          <a:bodyPr spcFirstLastPara="1" wrap="square" lIns="0" tIns="0" rIns="0" bIns="0" anchor="ctr" anchorCtr="0">
            <a:noAutofit/>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rPr>
              <a:t>On-Prem</a:t>
            </a:r>
            <a:endParaRPr kumimoji="0" sz="1400" b="0" i="0" u="none" strike="noStrike" kern="1200" cap="none" spc="0" normalizeH="0" baseline="0" noProof="0" dirty="0">
              <a:ln>
                <a:noFill/>
              </a:ln>
              <a:solidFill>
                <a:srgbClr val="6DBD49"/>
              </a:solidFill>
              <a:effectLst/>
              <a:uLnTx/>
              <a:uFillTx/>
              <a:latin typeface="CiscoSansTT" panose="020B0803020201020303" pitchFamily="34" charset="0"/>
              <a:ea typeface="Helvetica Neue"/>
              <a:cs typeface="Arial" panose="020B0604020202020204" pitchFamily="34" charset="0"/>
              <a:sym typeface="Helvetica Neue"/>
            </a:endParaRPr>
          </a:p>
        </p:txBody>
      </p:sp>
      <p:pic>
        <p:nvPicPr>
          <p:cNvPr id="1636" name="Google Shape;1636;p195"/>
          <p:cNvPicPr preferRelativeResize="0"/>
          <p:nvPr/>
        </p:nvPicPr>
        <p:blipFill rotWithShape="1">
          <a:blip r:embed="rId18">
            <a:alphaModFix/>
          </a:blip>
          <a:srcRect/>
          <a:stretch/>
        </p:blipFill>
        <p:spPr>
          <a:xfrm>
            <a:off x="6199779" y="2027396"/>
            <a:ext cx="978255" cy="303259"/>
          </a:xfrm>
          <a:prstGeom prst="rect">
            <a:avLst/>
          </a:prstGeom>
          <a:noFill/>
          <a:ln>
            <a:noFill/>
          </a:ln>
        </p:spPr>
      </p:pic>
      <p:pic>
        <p:nvPicPr>
          <p:cNvPr id="1638" name="Google Shape;1638;p195"/>
          <p:cNvPicPr preferRelativeResize="0"/>
          <p:nvPr/>
        </p:nvPicPr>
        <p:blipFill rotWithShape="1">
          <a:blip r:embed="rId19">
            <a:alphaModFix/>
          </a:blip>
          <a:srcRect/>
          <a:stretch/>
        </p:blipFill>
        <p:spPr>
          <a:xfrm>
            <a:off x="659130" y="1980272"/>
            <a:ext cx="771244" cy="390618"/>
          </a:xfrm>
          <a:prstGeom prst="rect">
            <a:avLst/>
          </a:prstGeom>
          <a:noFill/>
          <a:ln>
            <a:noFill/>
          </a:ln>
        </p:spPr>
      </p:pic>
      <p:pic>
        <p:nvPicPr>
          <p:cNvPr id="1639" name="Google Shape;1639;p195"/>
          <p:cNvPicPr preferRelativeResize="0"/>
          <p:nvPr/>
        </p:nvPicPr>
        <p:blipFill rotWithShape="1">
          <a:blip r:embed="rId20">
            <a:alphaModFix/>
          </a:blip>
          <a:srcRect/>
          <a:stretch/>
        </p:blipFill>
        <p:spPr>
          <a:xfrm>
            <a:off x="614429" y="3411077"/>
            <a:ext cx="910055" cy="217645"/>
          </a:xfrm>
          <a:prstGeom prst="rect">
            <a:avLst/>
          </a:prstGeom>
          <a:noFill/>
          <a:ln>
            <a:noFill/>
          </a:ln>
        </p:spPr>
      </p:pic>
      <p:pic>
        <p:nvPicPr>
          <p:cNvPr id="1640" name="Google Shape;1640;p195"/>
          <p:cNvPicPr preferRelativeResize="0"/>
          <p:nvPr/>
        </p:nvPicPr>
        <p:blipFill rotWithShape="1">
          <a:blip r:embed="rId21" cstate="print">
            <a:alphaModFix/>
            <a:extLst>
              <a:ext uri="{28A0092B-C50C-407E-A947-70E740481C1C}">
                <a14:useLocalDpi xmlns:a14="http://schemas.microsoft.com/office/drawing/2010/main"/>
              </a:ext>
            </a:extLst>
          </a:blip>
          <a:srcRect/>
          <a:stretch/>
        </p:blipFill>
        <p:spPr>
          <a:xfrm>
            <a:off x="550308" y="3840170"/>
            <a:ext cx="1025620" cy="246433"/>
          </a:xfrm>
          <a:prstGeom prst="rect">
            <a:avLst/>
          </a:prstGeom>
          <a:noFill/>
          <a:ln>
            <a:noFill/>
          </a:ln>
        </p:spPr>
      </p:pic>
      <p:pic>
        <p:nvPicPr>
          <p:cNvPr id="1641" name="Google Shape;1641;p195"/>
          <p:cNvPicPr preferRelativeResize="0"/>
          <p:nvPr/>
        </p:nvPicPr>
        <p:blipFill rotWithShape="1">
          <a:blip r:embed="rId22">
            <a:alphaModFix/>
          </a:blip>
          <a:srcRect/>
          <a:stretch/>
        </p:blipFill>
        <p:spPr>
          <a:xfrm>
            <a:off x="2235646" y="3436138"/>
            <a:ext cx="444430" cy="233848"/>
          </a:xfrm>
          <a:prstGeom prst="rect">
            <a:avLst/>
          </a:prstGeom>
          <a:noFill/>
          <a:ln>
            <a:noFill/>
          </a:ln>
        </p:spPr>
      </p:pic>
      <p:pic>
        <p:nvPicPr>
          <p:cNvPr id="1642" name="Google Shape;1642;p195"/>
          <p:cNvPicPr preferRelativeResize="0"/>
          <p:nvPr/>
        </p:nvPicPr>
        <p:blipFill rotWithShape="1">
          <a:blip r:embed="rId23">
            <a:alphaModFix/>
          </a:blip>
          <a:srcRect/>
          <a:stretch/>
        </p:blipFill>
        <p:spPr>
          <a:xfrm>
            <a:off x="2053734" y="3846150"/>
            <a:ext cx="808251" cy="213294"/>
          </a:xfrm>
          <a:prstGeom prst="rect">
            <a:avLst/>
          </a:prstGeom>
          <a:noFill/>
          <a:ln>
            <a:noFill/>
          </a:ln>
        </p:spPr>
      </p:pic>
      <p:pic>
        <p:nvPicPr>
          <p:cNvPr id="1643" name="Google Shape;1643;p195" descr="sfdc logo.png"/>
          <p:cNvPicPr preferRelativeResize="0"/>
          <p:nvPr/>
        </p:nvPicPr>
        <p:blipFill rotWithShape="1">
          <a:blip r:embed="rId24">
            <a:alphaModFix/>
          </a:blip>
          <a:srcRect/>
          <a:stretch/>
        </p:blipFill>
        <p:spPr>
          <a:xfrm>
            <a:off x="2187751" y="2436359"/>
            <a:ext cx="540211" cy="376403"/>
          </a:xfrm>
          <a:prstGeom prst="rect">
            <a:avLst/>
          </a:prstGeom>
          <a:noFill/>
          <a:ln>
            <a:noFill/>
          </a:ln>
        </p:spPr>
      </p:pic>
      <p:pic>
        <p:nvPicPr>
          <p:cNvPr id="1644" name="Google Shape;1644;p195"/>
          <p:cNvPicPr preferRelativeResize="0"/>
          <p:nvPr/>
        </p:nvPicPr>
        <p:blipFill rotWithShape="1">
          <a:blip r:embed="rId25">
            <a:alphaModFix/>
          </a:blip>
          <a:srcRect/>
          <a:stretch/>
        </p:blipFill>
        <p:spPr>
          <a:xfrm>
            <a:off x="3394897" y="2517931"/>
            <a:ext cx="897443" cy="176661"/>
          </a:xfrm>
          <a:prstGeom prst="rect">
            <a:avLst/>
          </a:prstGeom>
          <a:noFill/>
          <a:ln>
            <a:noFill/>
          </a:ln>
        </p:spPr>
      </p:pic>
      <p:pic>
        <p:nvPicPr>
          <p:cNvPr id="1645" name="Google Shape;1645;p195"/>
          <p:cNvPicPr preferRelativeResize="0"/>
          <p:nvPr/>
        </p:nvPicPr>
        <p:blipFill rotWithShape="1">
          <a:blip r:embed="rId26" cstate="print">
            <a:alphaModFix/>
            <a:extLst>
              <a:ext uri="{28A0092B-C50C-407E-A947-70E740481C1C}">
                <a14:useLocalDpi xmlns:a14="http://schemas.microsoft.com/office/drawing/2010/main"/>
              </a:ext>
            </a:extLst>
          </a:blip>
          <a:srcRect/>
          <a:stretch/>
        </p:blipFill>
        <p:spPr>
          <a:xfrm>
            <a:off x="4948792" y="3374935"/>
            <a:ext cx="694560" cy="255251"/>
          </a:xfrm>
          <a:prstGeom prst="rect">
            <a:avLst/>
          </a:prstGeom>
          <a:noFill/>
          <a:ln>
            <a:noFill/>
          </a:ln>
        </p:spPr>
      </p:pic>
      <p:sp>
        <p:nvSpPr>
          <p:cNvPr id="1654" name="Google Shape;1654;p195"/>
          <p:cNvSpPr txBox="1"/>
          <p:nvPr/>
        </p:nvSpPr>
        <p:spPr>
          <a:xfrm>
            <a:off x="6270148" y="4520064"/>
            <a:ext cx="2376948" cy="212254"/>
          </a:xfrm>
          <a:prstGeom prst="rect">
            <a:avLst/>
          </a:prstGeom>
          <a:noFill/>
          <a:ln>
            <a:noFill/>
          </a:ln>
        </p:spPr>
        <p:txBody>
          <a:bodyPr spcFirstLastPara="1" wrap="square" lIns="0" tIns="0" rIns="0" bIns="0" anchor="t" anchorCtr="0">
            <a:noAutofit/>
          </a:bodyPr>
          <a:lstStyle/>
          <a:p>
            <a:pPr marL="0" marR="0" lvl="0" indent="0" algn="r" defTabSz="457200" rtl="0" eaLnBrk="1" fontAlgn="base"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dirty="0">
                <a:ln>
                  <a:noFill/>
                </a:ln>
                <a:solidFill>
                  <a:srgbClr val="6DBD49"/>
                </a:solidFill>
                <a:effectLst/>
                <a:uLnTx/>
                <a:uFillTx/>
                <a:latin typeface="CiscoSansTT ExtraLight"/>
                <a:ea typeface="Helvetica Neue"/>
                <a:cs typeface="Arial" panose="020B0604020202020204" pitchFamily="34" charset="0"/>
                <a:sym typeface="Helvetica Neue"/>
                <a:hlinkClick r:id="rId27">
                  <a:extLst>
                    <a:ext uri="{A12FA001-AC4F-418D-AE19-62706E023703}">
                      <ahyp:hlinkClr xmlns:ahyp="http://schemas.microsoft.com/office/drawing/2018/hyperlinkcolor" val="tx"/>
                    </a:ext>
                  </a:extLst>
                </a:hlinkClick>
              </a:rPr>
              <a:t>Learn more about application integrations</a:t>
            </a:r>
            <a:endParaRPr kumimoji="0" lang="en-US" sz="1000" b="0" i="0" u="none" strike="noStrike" kern="1200" cap="none" spc="0" normalizeH="0" baseline="0" noProof="0" dirty="0">
              <a:ln>
                <a:noFill/>
              </a:ln>
              <a:solidFill>
                <a:srgbClr val="6DBD49"/>
              </a:solidFill>
              <a:effectLst/>
              <a:uLnTx/>
              <a:uFillTx/>
              <a:latin typeface="CiscoSansTT ExtraLight"/>
              <a:ea typeface="Helvetica Neue"/>
              <a:cs typeface="Arial" panose="020B0604020202020204" pitchFamily="34" charset="0"/>
              <a:sym typeface="Helvetica Neue"/>
            </a:endParaRPr>
          </a:p>
        </p:txBody>
      </p:sp>
      <p:sp>
        <p:nvSpPr>
          <p:cNvPr id="3" name="Title 2">
            <a:extLst>
              <a:ext uri="{FF2B5EF4-FFF2-40B4-BE49-F238E27FC236}">
                <a16:creationId xmlns:a16="http://schemas.microsoft.com/office/drawing/2014/main" id="{796FF766-288D-4BA4-8F25-48543AEECE4D}"/>
              </a:ext>
            </a:extLst>
          </p:cNvPr>
          <p:cNvSpPr>
            <a:spLocks noGrp="1"/>
          </p:cNvSpPr>
          <p:nvPr>
            <p:ph type="title"/>
          </p:nvPr>
        </p:nvSpPr>
        <p:spPr/>
        <p:txBody>
          <a:bodyPr/>
          <a:lstStyle/>
          <a:p>
            <a:r>
              <a:rPr lang="en-US" sz="2400" dirty="0">
                <a:sym typeface="Helvetica Neue"/>
              </a:rPr>
              <a:t>Duo</a:t>
            </a:r>
            <a:r>
              <a:rPr lang="en-US" sz="2400" dirty="0">
                <a:solidFill>
                  <a:srgbClr val="FF0000"/>
                </a:solidFill>
                <a:sym typeface="Helvetica Neue"/>
              </a:rPr>
              <a:t> </a:t>
            </a:r>
            <a:r>
              <a:rPr lang="en-US" sz="2400" dirty="0">
                <a:sym typeface="Helvetica Neue"/>
              </a:rPr>
              <a:t>Supports Your Work Applications</a:t>
            </a:r>
            <a:endParaRPr lang="en-US" sz="2400" dirty="0"/>
          </a:p>
        </p:txBody>
      </p:sp>
      <p:cxnSp>
        <p:nvCxnSpPr>
          <p:cNvPr id="7" name="Straight Connector 6">
            <a:extLst>
              <a:ext uri="{FF2B5EF4-FFF2-40B4-BE49-F238E27FC236}">
                <a16:creationId xmlns:a16="http://schemas.microsoft.com/office/drawing/2014/main" id="{B6C0C68B-BE6A-48E1-BC51-551A758A2BC6}"/>
              </a:ext>
            </a:extLst>
          </p:cNvPr>
          <p:cNvCxnSpPr>
            <a:cxnSpLocks/>
          </p:cNvCxnSpPr>
          <p:nvPr/>
        </p:nvCxnSpPr>
        <p:spPr>
          <a:xfrm flipH="1">
            <a:off x="1717647" y="1627503"/>
            <a:ext cx="0" cy="2571750"/>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C071456-7236-4BAD-94F8-ADAF27612AAB}"/>
              </a:ext>
            </a:extLst>
          </p:cNvPr>
          <p:cNvCxnSpPr>
            <a:cxnSpLocks/>
          </p:cNvCxnSpPr>
          <p:nvPr/>
        </p:nvCxnSpPr>
        <p:spPr>
          <a:xfrm flipH="1">
            <a:off x="3151410" y="1627503"/>
            <a:ext cx="0" cy="2571750"/>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EB55E5C-9DE8-4CC2-8F81-1BA6C5263CE2}"/>
              </a:ext>
            </a:extLst>
          </p:cNvPr>
          <p:cNvCxnSpPr>
            <a:cxnSpLocks/>
          </p:cNvCxnSpPr>
          <p:nvPr/>
        </p:nvCxnSpPr>
        <p:spPr>
          <a:xfrm flipH="1">
            <a:off x="4566123" y="1627503"/>
            <a:ext cx="0" cy="2571750"/>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2B2C4A6-B64D-4801-87F2-46B0B5312F46}"/>
              </a:ext>
            </a:extLst>
          </p:cNvPr>
          <p:cNvCxnSpPr>
            <a:cxnSpLocks/>
          </p:cNvCxnSpPr>
          <p:nvPr/>
        </p:nvCxnSpPr>
        <p:spPr>
          <a:xfrm flipH="1">
            <a:off x="6018936" y="1627503"/>
            <a:ext cx="0" cy="2571750"/>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48E6DE4-08DD-48F7-AA95-731F46373B46}"/>
              </a:ext>
            </a:extLst>
          </p:cNvPr>
          <p:cNvCxnSpPr>
            <a:cxnSpLocks/>
          </p:cNvCxnSpPr>
          <p:nvPr/>
        </p:nvCxnSpPr>
        <p:spPr>
          <a:xfrm flipH="1">
            <a:off x="7452699" y="1627503"/>
            <a:ext cx="0" cy="2571750"/>
          </a:xfrm>
          <a:prstGeom prst="line">
            <a:avLst/>
          </a:prstGeom>
          <a:ln w="1270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183FCEA5-5E8F-42D9-BD19-636053FB2424}"/>
              </a:ext>
            </a:extLst>
          </p:cNvPr>
          <p:cNvGrpSpPr/>
          <p:nvPr/>
        </p:nvGrpSpPr>
        <p:grpSpPr>
          <a:xfrm>
            <a:off x="335890" y="1077373"/>
            <a:ext cx="4023969" cy="3270758"/>
            <a:chOff x="335890" y="1209406"/>
            <a:chExt cx="4023969" cy="3428431"/>
          </a:xfrm>
        </p:grpSpPr>
        <p:sp>
          <p:nvSpPr>
            <p:cNvPr id="52" name="Rounded Rectangle 107">
              <a:extLst>
                <a:ext uri="{FF2B5EF4-FFF2-40B4-BE49-F238E27FC236}">
                  <a16:creationId xmlns:a16="http://schemas.microsoft.com/office/drawing/2014/main" id="{33B5A763-9A02-4B11-BCA7-3DB8075E5699}"/>
                </a:ext>
              </a:extLst>
            </p:cNvPr>
            <p:cNvSpPr/>
            <p:nvPr/>
          </p:nvSpPr>
          <p:spPr>
            <a:xfrm>
              <a:off x="335890" y="1209406"/>
              <a:ext cx="3931920" cy="333252"/>
            </a:xfrm>
            <a:prstGeom prst="roundRect">
              <a:avLst>
                <a:gd name="adj" fmla="val 1371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2" rtlCol="0" anchor="ctr"/>
            <a:lstStyle/>
            <a:p>
              <a:pPr marL="0" marR="0" lvl="0" indent="0" algn="l" defTabSz="457200" rtl="0" eaLnBrk="1" fontAlgn="base"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0D274D"/>
                  </a:solidFill>
                  <a:effectLst/>
                  <a:uLnTx/>
                  <a:uFillTx/>
                  <a:latin typeface="CiscoSansTT" panose="020B0803020201020303" pitchFamily="34" charset="0"/>
                  <a:ea typeface="Helvetica Neue"/>
                  <a:cs typeface="Arial" panose="020B0604020202020204" pitchFamily="34" charset="0"/>
                  <a:sym typeface="Helvetica Neue"/>
                </a:rPr>
                <a:t>Start Her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nvGrpSpPr>
            <p:cNvPr id="53" name="Group 52">
              <a:extLst>
                <a:ext uri="{FF2B5EF4-FFF2-40B4-BE49-F238E27FC236}">
                  <a16:creationId xmlns:a16="http://schemas.microsoft.com/office/drawing/2014/main" id="{4246A3CE-98BF-484B-91D6-7CD48A1610CD}"/>
                </a:ext>
              </a:extLst>
            </p:cNvPr>
            <p:cNvGrpSpPr/>
            <p:nvPr/>
          </p:nvGrpSpPr>
          <p:grpSpPr>
            <a:xfrm>
              <a:off x="432011" y="1526438"/>
              <a:ext cx="3927848" cy="3111399"/>
              <a:chOff x="432011" y="1526438"/>
              <a:chExt cx="3927848" cy="3111399"/>
            </a:xfrm>
          </p:grpSpPr>
          <p:cxnSp>
            <p:nvCxnSpPr>
              <p:cNvPr id="54" name="Straight Connector 53">
                <a:extLst>
                  <a:ext uri="{FF2B5EF4-FFF2-40B4-BE49-F238E27FC236}">
                    <a16:creationId xmlns:a16="http://schemas.microsoft.com/office/drawing/2014/main" id="{D0288FBA-A0D9-4A53-A5A3-37AA03425D62}"/>
                  </a:ext>
                </a:extLst>
              </p:cNvPr>
              <p:cNvCxnSpPr>
                <a:cxnSpLocks/>
              </p:cNvCxnSpPr>
              <p:nvPr/>
            </p:nvCxnSpPr>
            <p:spPr>
              <a:xfrm>
                <a:off x="432011" y="1528877"/>
                <a:ext cx="0" cy="310896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F6E85F3-0AB7-444E-8FA5-989A3769DFFB}"/>
                  </a:ext>
                </a:extLst>
              </p:cNvPr>
              <p:cNvCxnSpPr>
                <a:cxnSpLocks/>
              </p:cNvCxnSpPr>
              <p:nvPr/>
            </p:nvCxnSpPr>
            <p:spPr>
              <a:xfrm flipH="1">
                <a:off x="438107" y="4636617"/>
                <a:ext cx="39217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62022C3-EB71-479A-A40D-FD7DE341EB51}"/>
                  </a:ext>
                </a:extLst>
              </p:cNvPr>
              <p:cNvCxnSpPr>
                <a:cxnSpLocks/>
              </p:cNvCxnSpPr>
              <p:nvPr/>
            </p:nvCxnSpPr>
            <p:spPr>
              <a:xfrm flipH="1">
                <a:off x="436888" y="1526438"/>
                <a:ext cx="39217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56E0530B-AB78-4BF4-8650-E27AA8FA64BD}"/>
              </a:ext>
            </a:extLst>
          </p:cNvPr>
          <p:cNvGrpSpPr/>
          <p:nvPr/>
        </p:nvGrpSpPr>
        <p:grpSpPr>
          <a:xfrm>
            <a:off x="4615671" y="1077372"/>
            <a:ext cx="4045721" cy="3269539"/>
            <a:chOff x="4490313" y="1209406"/>
            <a:chExt cx="4045721" cy="3427212"/>
          </a:xfrm>
        </p:grpSpPr>
        <p:sp>
          <p:nvSpPr>
            <p:cNvPr id="58" name="Rounded Rectangle 177">
              <a:extLst>
                <a:ext uri="{FF2B5EF4-FFF2-40B4-BE49-F238E27FC236}">
                  <a16:creationId xmlns:a16="http://schemas.microsoft.com/office/drawing/2014/main" id="{02B3F079-187C-4F7C-9DE7-EE742D9A3834}"/>
                </a:ext>
              </a:extLst>
            </p:cNvPr>
            <p:cNvSpPr/>
            <p:nvPr/>
          </p:nvSpPr>
          <p:spPr>
            <a:xfrm>
              <a:off x="4490313" y="1209406"/>
              <a:ext cx="3931920" cy="333252"/>
            </a:xfrm>
            <a:prstGeom prst="roundRect">
              <a:avLst>
                <a:gd name="adj" fmla="val 11433"/>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numCol="2" rtlCol="0" anchor="ctr"/>
            <a:lstStyle/>
            <a:p>
              <a:pPr marL="0" marR="0" lvl="0" indent="0" algn="l" defTabSz="457200" rtl="0" eaLnBrk="1" fontAlgn="base" latinLnBrk="0" hangingPunct="1">
                <a:lnSpc>
                  <a:spcPct val="100000"/>
                </a:lnSpc>
                <a:spcBef>
                  <a:spcPts val="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6DBD4A"/>
                  </a:solidFill>
                  <a:effectLst/>
                  <a:uLnTx/>
                  <a:uFillTx/>
                  <a:latin typeface="CiscoSansTT" panose="020B0803020201020303" pitchFamily="34" charset="0"/>
                  <a:ea typeface="Helvetica Neue"/>
                  <a:cs typeface="Arial" panose="020B0604020202020204" pitchFamily="34" charset="0"/>
                  <a:sym typeface="Helvetica Neue"/>
                </a:rPr>
                <a:t>Then Expand</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6DBD49"/>
                </a:solidFill>
                <a:effectLst/>
                <a:uLnTx/>
                <a:uFillTx/>
                <a:latin typeface="CiscoSansTT ExtraLight"/>
                <a:ea typeface="+mn-ea"/>
                <a:cs typeface="+mn-cs"/>
              </a:endParaRPr>
            </a:p>
          </p:txBody>
        </p:sp>
        <p:grpSp>
          <p:nvGrpSpPr>
            <p:cNvPr id="59" name="Group 58">
              <a:extLst>
                <a:ext uri="{FF2B5EF4-FFF2-40B4-BE49-F238E27FC236}">
                  <a16:creationId xmlns:a16="http://schemas.microsoft.com/office/drawing/2014/main" id="{EC290A7F-9807-41AB-8561-E8C26E3B69EA}"/>
                </a:ext>
              </a:extLst>
            </p:cNvPr>
            <p:cNvGrpSpPr/>
            <p:nvPr/>
          </p:nvGrpSpPr>
          <p:grpSpPr>
            <a:xfrm>
              <a:off x="4612649" y="1525219"/>
              <a:ext cx="3923385" cy="3111399"/>
              <a:chOff x="4612649" y="1525219"/>
              <a:chExt cx="3923385" cy="3111399"/>
            </a:xfrm>
          </p:grpSpPr>
          <p:cxnSp>
            <p:nvCxnSpPr>
              <p:cNvPr id="60" name="Straight Connector 59">
                <a:extLst>
                  <a:ext uri="{FF2B5EF4-FFF2-40B4-BE49-F238E27FC236}">
                    <a16:creationId xmlns:a16="http://schemas.microsoft.com/office/drawing/2014/main" id="{F25B2D4E-4F46-470B-9CC7-C76E7EC81564}"/>
                  </a:ext>
                </a:extLst>
              </p:cNvPr>
              <p:cNvCxnSpPr>
                <a:cxnSpLocks/>
              </p:cNvCxnSpPr>
              <p:nvPr/>
            </p:nvCxnSpPr>
            <p:spPr>
              <a:xfrm>
                <a:off x="8536034" y="1527658"/>
                <a:ext cx="0" cy="310896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1E773CC-14AC-4C7F-8997-885402DAAA65}"/>
                  </a:ext>
                </a:extLst>
              </p:cNvPr>
              <p:cNvCxnSpPr>
                <a:cxnSpLocks/>
              </p:cNvCxnSpPr>
              <p:nvPr/>
            </p:nvCxnSpPr>
            <p:spPr>
              <a:xfrm flipH="1">
                <a:off x="4613868" y="4635398"/>
                <a:ext cx="3921752"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DB9E8BE-0C59-4A31-9F5E-FF4B4DE71DE8}"/>
                  </a:ext>
                </a:extLst>
              </p:cNvPr>
              <p:cNvCxnSpPr>
                <a:cxnSpLocks/>
              </p:cNvCxnSpPr>
              <p:nvPr/>
            </p:nvCxnSpPr>
            <p:spPr>
              <a:xfrm flipH="1">
                <a:off x="4612649" y="1525219"/>
                <a:ext cx="3921752" cy="0"/>
              </a:xfrm>
              <a:prstGeom prst="line">
                <a:avLst/>
              </a:prstGeom>
              <a:ln w="12700" cap="rnd">
                <a:solidFill>
                  <a:schemeClr val="accent1"/>
                </a:solidFill>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1999" t="17292" b="-1"/>
          <a:stretch/>
        </p:blipFill>
        <p:spPr>
          <a:xfrm>
            <a:off x="0" y="0"/>
            <a:ext cx="9144000" cy="5143500"/>
          </a:xfrm>
          <a:prstGeom prst="rect">
            <a:avLst/>
          </a:prstGeom>
          <a:ln>
            <a:noFill/>
          </a:ln>
        </p:spPr>
      </p:pic>
      <p:sp>
        <p:nvSpPr>
          <p:cNvPr id="6" name="Rectangle 5"/>
          <p:cNvSpPr/>
          <p:nvPr/>
        </p:nvSpPr>
        <p:spPr>
          <a:xfrm>
            <a:off x="0" y="0"/>
            <a:ext cx="9144000" cy="5143500"/>
          </a:xfrm>
          <a:prstGeom prst="rect">
            <a:avLst/>
          </a:prstGeom>
          <a:solidFill>
            <a:schemeClr val="bg2">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Freeform 7"/>
          <p:cNvSpPr>
            <a:spLocks noChangeArrowheads="1"/>
          </p:cNvSpPr>
          <p:nvPr/>
        </p:nvSpPr>
        <p:spPr bwMode="auto">
          <a:xfrm>
            <a:off x="-572401" y="3350638"/>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25" name="Freeform 7"/>
          <p:cNvSpPr>
            <a:spLocks noChangeArrowheads="1"/>
          </p:cNvSpPr>
          <p:nvPr/>
        </p:nvSpPr>
        <p:spPr bwMode="auto">
          <a:xfrm>
            <a:off x="-521254" y="3526812"/>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30" name="Freeform 7"/>
          <p:cNvSpPr>
            <a:spLocks noChangeArrowheads="1"/>
          </p:cNvSpPr>
          <p:nvPr/>
        </p:nvSpPr>
        <p:spPr bwMode="auto">
          <a:xfrm>
            <a:off x="-582338" y="3617206"/>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31" name="Freeform 30"/>
          <p:cNvSpPr>
            <a:spLocks/>
          </p:cNvSpPr>
          <p:nvPr/>
        </p:nvSpPr>
        <p:spPr bwMode="auto">
          <a:xfrm>
            <a:off x="3104148" y="1107983"/>
            <a:ext cx="2935706" cy="2927536"/>
          </a:xfrm>
          <a:custGeom>
            <a:avLst/>
            <a:gdLst>
              <a:gd name="T0" fmla="*/ 442 w 695"/>
              <a:gd name="T1" fmla="*/ 52 h 693"/>
              <a:gd name="T2" fmla="*/ 52 w 695"/>
              <a:gd name="T3" fmla="*/ 252 h 693"/>
              <a:gd name="T4" fmla="*/ 252 w 695"/>
              <a:gd name="T5" fmla="*/ 641 h 693"/>
              <a:gd name="T6" fmla="*/ 643 w 695"/>
              <a:gd name="T7" fmla="*/ 441 h 693"/>
              <a:gd name="T8" fmla="*/ 442 w 695"/>
              <a:gd name="T9" fmla="*/ 52 h 693"/>
            </a:gdLst>
            <a:ahLst/>
            <a:cxnLst>
              <a:cxn ang="0">
                <a:pos x="T0" y="T1"/>
              </a:cxn>
              <a:cxn ang="0">
                <a:pos x="T2" y="T3"/>
              </a:cxn>
              <a:cxn ang="0">
                <a:pos x="T4" y="T5"/>
              </a:cxn>
              <a:cxn ang="0">
                <a:pos x="T6" y="T7"/>
              </a:cxn>
              <a:cxn ang="0">
                <a:pos x="T8" y="T9"/>
              </a:cxn>
            </a:cxnLst>
            <a:rect l="0" t="0" r="r" b="b"/>
            <a:pathLst>
              <a:path w="695" h="693">
                <a:moveTo>
                  <a:pt x="442" y="52"/>
                </a:moveTo>
                <a:cubicBezTo>
                  <a:pt x="279" y="0"/>
                  <a:pt x="104" y="90"/>
                  <a:pt x="52" y="252"/>
                </a:cubicBezTo>
                <a:cubicBezTo>
                  <a:pt x="0" y="414"/>
                  <a:pt x="89" y="589"/>
                  <a:pt x="252" y="641"/>
                </a:cubicBezTo>
                <a:cubicBezTo>
                  <a:pt x="415" y="693"/>
                  <a:pt x="590" y="603"/>
                  <a:pt x="643" y="441"/>
                </a:cubicBezTo>
                <a:cubicBezTo>
                  <a:pt x="695" y="279"/>
                  <a:pt x="605" y="104"/>
                  <a:pt x="442" y="52"/>
                </a:cubicBezTo>
              </a:path>
            </a:pathLst>
          </a:custGeom>
          <a:noFill/>
          <a:ln w="76200">
            <a:solidFill>
              <a:schemeClr val="tx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Calibri" pitchFamily="34" charset="0"/>
              <a:ea typeface="PMingLiU" pitchFamily="18" charset="-120"/>
              <a:cs typeface="新細明體"/>
            </a:endParaRPr>
          </a:p>
        </p:txBody>
      </p:sp>
      <p:grpSp>
        <p:nvGrpSpPr>
          <p:cNvPr id="32" name="Group 31"/>
          <p:cNvGrpSpPr/>
          <p:nvPr/>
        </p:nvGrpSpPr>
        <p:grpSpPr>
          <a:xfrm>
            <a:off x="4002728" y="221046"/>
            <a:ext cx="1138545" cy="655147"/>
            <a:chOff x="4002728" y="288027"/>
            <a:chExt cx="1138545" cy="655147"/>
          </a:xfrm>
        </p:grpSpPr>
        <p:sp>
          <p:nvSpPr>
            <p:cNvPr id="33" name="Freeform 32"/>
            <p:cNvSpPr/>
            <p:nvPr/>
          </p:nvSpPr>
          <p:spPr>
            <a:xfrm>
              <a:off x="4975142" y="617102"/>
              <a:ext cx="166131" cy="325960"/>
            </a:xfrm>
            <a:custGeom>
              <a:avLst/>
              <a:gdLst>
                <a:gd name="connsiteX0" fmla="*/ 255399 w 753500"/>
                <a:gd name="connsiteY0" fmla="*/ 0 h 1317490"/>
                <a:gd name="connsiteX1" fmla="*/ 343283 w 753500"/>
                <a:gd name="connsiteY1" fmla="*/ 27288 h 1317490"/>
                <a:gd name="connsiteX2" fmla="*/ 753500 w 753500"/>
                <a:gd name="connsiteY2" fmla="*/ 646005 h 1317490"/>
                <a:gd name="connsiteX3" fmla="*/ 82018 w 753500"/>
                <a:gd name="connsiteY3" fmla="*/ 1317490 h 1317490"/>
                <a:gd name="connsiteX4" fmla="*/ 0 w 753500"/>
                <a:gd name="connsiteY4" fmla="*/ 652409 h 1317490"/>
                <a:gd name="connsiteX5" fmla="*/ 255399 w 753500"/>
                <a:gd name="connsiteY5" fmla="*/ 652409 h 1317490"/>
                <a:gd name="connsiteX6" fmla="*/ 255399 w 753500"/>
                <a:gd name="connsiteY6" fmla="*/ 0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6" fmla="*/ 346839 w 753500"/>
                <a:gd name="connsiteY6" fmla="*/ 743849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0" fmla="*/ 173381 w 671482"/>
                <a:gd name="connsiteY0" fmla="*/ 652409 h 1317490"/>
                <a:gd name="connsiteX1" fmla="*/ 173381 w 671482"/>
                <a:gd name="connsiteY1" fmla="*/ 0 h 1317490"/>
                <a:gd name="connsiteX2" fmla="*/ 261265 w 671482"/>
                <a:gd name="connsiteY2" fmla="*/ 27288 h 1317490"/>
                <a:gd name="connsiteX3" fmla="*/ 671482 w 671482"/>
                <a:gd name="connsiteY3" fmla="*/ 646005 h 1317490"/>
                <a:gd name="connsiteX4" fmla="*/ 0 w 671482"/>
                <a:gd name="connsiteY4" fmla="*/ 1317490 h 1317490"/>
                <a:gd name="connsiteX0" fmla="*/ 173381 w 671482"/>
                <a:gd name="connsiteY0" fmla="*/ 0 h 1317490"/>
                <a:gd name="connsiteX1" fmla="*/ 261265 w 671482"/>
                <a:gd name="connsiteY1" fmla="*/ 27288 h 1317490"/>
                <a:gd name="connsiteX2" fmla="*/ 671482 w 671482"/>
                <a:gd name="connsiteY2" fmla="*/ 646005 h 1317490"/>
                <a:gd name="connsiteX3" fmla="*/ 0 w 671482"/>
                <a:gd name="connsiteY3" fmla="*/ 1317490 h 1317490"/>
              </a:gdLst>
              <a:ahLst/>
              <a:cxnLst>
                <a:cxn ang="0">
                  <a:pos x="connsiteX0" y="connsiteY0"/>
                </a:cxn>
                <a:cxn ang="0">
                  <a:pos x="connsiteX1" y="connsiteY1"/>
                </a:cxn>
                <a:cxn ang="0">
                  <a:pos x="connsiteX2" y="connsiteY2"/>
                </a:cxn>
                <a:cxn ang="0">
                  <a:pos x="connsiteX3" y="connsiteY3"/>
                </a:cxn>
              </a:cxnLst>
              <a:rect l="l" t="t" r="r" b="b"/>
              <a:pathLst>
                <a:path w="671482" h="1317490">
                  <a:moveTo>
                    <a:pt x="173381" y="0"/>
                  </a:moveTo>
                  <a:lnTo>
                    <a:pt x="261265" y="27288"/>
                  </a:lnTo>
                  <a:cubicBezTo>
                    <a:pt x="502234" y="129226"/>
                    <a:pt x="671482" y="367869"/>
                    <a:pt x="671482" y="646005"/>
                  </a:cubicBezTo>
                  <a:cubicBezTo>
                    <a:pt x="671482" y="1016852"/>
                    <a:pt x="370597" y="1317490"/>
                    <a:pt x="0" y="1317490"/>
                  </a:cubicBezTo>
                </a:path>
              </a:pathLst>
            </a:custGeom>
            <a:noFill/>
            <a:ln w="25400" cap="rnd" cmpd="sng" algn="ctr">
              <a:solidFill>
                <a:schemeClr val="tx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34" name="Freeform 33"/>
            <p:cNvSpPr/>
            <p:nvPr/>
          </p:nvSpPr>
          <p:spPr>
            <a:xfrm>
              <a:off x="4002728" y="620962"/>
              <a:ext cx="166131" cy="322101"/>
            </a:xfrm>
            <a:custGeom>
              <a:avLst/>
              <a:gdLst>
                <a:gd name="connsiteX0" fmla="*/ 447870 w 877763"/>
                <a:gd name="connsiteY0" fmla="*/ 0 h 1301893"/>
                <a:gd name="connsiteX1" fmla="*/ 447870 w 877763"/>
                <a:gd name="connsiteY1" fmla="*/ 344644 h 1301893"/>
                <a:gd name="connsiteX2" fmla="*/ 877763 w 877763"/>
                <a:gd name="connsiteY2" fmla="*/ 344644 h 1301893"/>
                <a:gd name="connsiteX3" fmla="*/ 671482 w 877763"/>
                <a:gd name="connsiteY3" fmla="*/ 1301893 h 1301893"/>
                <a:gd name="connsiteX4" fmla="*/ 0 w 877763"/>
                <a:gd name="connsiteY4" fmla="*/ 630408 h 1301893"/>
                <a:gd name="connsiteX5" fmla="*/ 410217 w 877763"/>
                <a:gd name="connsiteY5" fmla="*/ 11691 h 1301893"/>
                <a:gd name="connsiteX6" fmla="*/ 447870 w 877763"/>
                <a:gd name="connsiteY6" fmla="*/ 0 h 1301893"/>
                <a:gd name="connsiteX0" fmla="*/ 877763 w 969203"/>
                <a:gd name="connsiteY0" fmla="*/ 344644 h 1301893"/>
                <a:gd name="connsiteX1" fmla="*/ 671482 w 969203"/>
                <a:gd name="connsiteY1" fmla="*/ 1301893 h 1301893"/>
                <a:gd name="connsiteX2" fmla="*/ 0 w 969203"/>
                <a:gd name="connsiteY2" fmla="*/ 630408 h 1301893"/>
                <a:gd name="connsiteX3" fmla="*/ 410217 w 969203"/>
                <a:gd name="connsiteY3" fmla="*/ 11691 h 1301893"/>
                <a:gd name="connsiteX4" fmla="*/ 447870 w 969203"/>
                <a:gd name="connsiteY4" fmla="*/ 0 h 1301893"/>
                <a:gd name="connsiteX5" fmla="*/ 447870 w 969203"/>
                <a:gd name="connsiteY5" fmla="*/ 344644 h 1301893"/>
                <a:gd name="connsiteX6" fmla="*/ 969203 w 969203"/>
                <a:gd name="connsiteY6" fmla="*/ 436084 h 1301893"/>
                <a:gd name="connsiteX0" fmla="*/ 877763 w 877763"/>
                <a:gd name="connsiteY0" fmla="*/ 344644 h 1301893"/>
                <a:gd name="connsiteX1" fmla="*/ 671482 w 877763"/>
                <a:gd name="connsiteY1" fmla="*/ 1301893 h 1301893"/>
                <a:gd name="connsiteX2" fmla="*/ 0 w 877763"/>
                <a:gd name="connsiteY2" fmla="*/ 630408 h 1301893"/>
                <a:gd name="connsiteX3" fmla="*/ 410217 w 877763"/>
                <a:gd name="connsiteY3" fmla="*/ 11691 h 1301893"/>
                <a:gd name="connsiteX4" fmla="*/ 447870 w 877763"/>
                <a:gd name="connsiteY4" fmla="*/ 0 h 1301893"/>
                <a:gd name="connsiteX5" fmla="*/ 447870 w 877763"/>
                <a:gd name="connsiteY5"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 name="connsiteX4" fmla="*/ 447870 w 671482"/>
                <a:gd name="connsiteY4"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Lst>
              <a:ahLst/>
              <a:cxnLst>
                <a:cxn ang="0">
                  <a:pos x="connsiteX0" y="connsiteY0"/>
                </a:cxn>
                <a:cxn ang="0">
                  <a:pos x="connsiteX1" y="connsiteY1"/>
                </a:cxn>
                <a:cxn ang="0">
                  <a:pos x="connsiteX2" y="connsiteY2"/>
                </a:cxn>
                <a:cxn ang="0">
                  <a:pos x="connsiteX3" y="connsiteY3"/>
                </a:cxn>
              </a:cxnLst>
              <a:rect l="l" t="t" r="r" b="b"/>
              <a:pathLst>
                <a:path w="671482" h="1301893">
                  <a:moveTo>
                    <a:pt x="671482" y="1301893"/>
                  </a:moveTo>
                  <a:cubicBezTo>
                    <a:pt x="300885" y="1301893"/>
                    <a:pt x="0" y="1001255"/>
                    <a:pt x="0" y="630408"/>
                  </a:cubicBezTo>
                  <a:cubicBezTo>
                    <a:pt x="0" y="352272"/>
                    <a:pt x="169248" y="113629"/>
                    <a:pt x="410217" y="11691"/>
                  </a:cubicBezTo>
                  <a:lnTo>
                    <a:pt x="447870" y="0"/>
                  </a:lnTo>
                </a:path>
              </a:pathLst>
            </a:custGeom>
            <a:noFill/>
            <a:ln w="25400" cap="rnd" cmpd="sng" algn="ctr">
              <a:solidFill>
                <a:schemeClr val="tx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35" name="Line 103"/>
            <p:cNvSpPr>
              <a:spLocks noChangeShapeType="1"/>
            </p:cNvSpPr>
            <p:nvPr/>
          </p:nvSpPr>
          <p:spPr bwMode="auto">
            <a:xfrm flipH="1">
              <a:off x="4161194" y="943174"/>
              <a:ext cx="831792"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36" name="Freeform 35"/>
            <p:cNvSpPr/>
            <p:nvPr/>
          </p:nvSpPr>
          <p:spPr>
            <a:xfrm>
              <a:off x="4129525" y="288027"/>
              <a:ext cx="608496" cy="361769"/>
            </a:xfrm>
            <a:custGeom>
              <a:avLst/>
              <a:gdLst>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498149 h 1346105"/>
                <a:gd name="connsiteX4" fmla="*/ 509341 w 2264147"/>
                <a:gd name="connsiteY4" fmla="*/ 1346105 h 1346105"/>
                <a:gd name="connsiteX5" fmla="*/ 4273 w 2264147"/>
                <a:gd name="connsiteY5" fmla="*/ 1346105 h 1346105"/>
                <a:gd name="connsiteX6" fmla="*/ 0 w 2264147"/>
                <a:gd name="connsiteY6" fmla="*/ 1261492 h 1346105"/>
                <a:gd name="connsiteX7" fmla="*/ 1261492 w 2264147"/>
                <a:gd name="connsiteY7" fmla="*/ 0 h 1346105"/>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1346105 h 1346105"/>
                <a:gd name="connsiteX4" fmla="*/ 4273 w 2264147"/>
                <a:gd name="connsiteY4" fmla="*/ 1346105 h 1346105"/>
                <a:gd name="connsiteX5" fmla="*/ 0 w 2264147"/>
                <a:gd name="connsiteY5" fmla="*/ 1261492 h 1346105"/>
                <a:gd name="connsiteX6" fmla="*/ 1261492 w 2264147"/>
                <a:gd name="connsiteY6" fmla="*/ 0 h 1346105"/>
                <a:gd name="connsiteX0" fmla="*/ 509341 w 2264147"/>
                <a:gd name="connsiteY0" fmla="*/ 1346105 h 1437545"/>
                <a:gd name="connsiteX1" fmla="*/ 4273 w 2264147"/>
                <a:gd name="connsiteY1" fmla="*/ 1346105 h 1437545"/>
                <a:gd name="connsiteX2" fmla="*/ 0 w 2264147"/>
                <a:gd name="connsiteY2" fmla="*/ 1261492 h 1437545"/>
                <a:gd name="connsiteX3" fmla="*/ 1261492 w 2264147"/>
                <a:gd name="connsiteY3" fmla="*/ 0 h 1437545"/>
                <a:gd name="connsiteX4" fmla="*/ 2234921 w 2264147"/>
                <a:gd name="connsiteY4" fmla="*/ 459066 h 1437545"/>
                <a:gd name="connsiteX5" fmla="*/ 2264147 w 2264147"/>
                <a:gd name="connsiteY5" fmla="*/ 498149 h 1437545"/>
                <a:gd name="connsiteX6" fmla="*/ 600781 w 2264147"/>
                <a:gd name="connsiteY6" fmla="*/ 1437545 h 1437545"/>
                <a:gd name="connsiteX0" fmla="*/ 509341 w 2264147"/>
                <a:gd name="connsiteY0" fmla="*/ 1346105 h 1346105"/>
                <a:gd name="connsiteX1" fmla="*/ 4273 w 2264147"/>
                <a:gd name="connsiteY1" fmla="*/ 1346105 h 1346105"/>
                <a:gd name="connsiteX2" fmla="*/ 0 w 2264147"/>
                <a:gd name="connsiteY2" fmla="*/ 1261492 h 1346105"/>
                <a:gd name="connsiteX3" fmla="*/ 1261492 w 2264147"/>
                <a:gd name="connsiteY3" fmla="*/ 0 h 1346105"/>
                <a:gd name="connsiteX4" fmla="*/ 2234921 w 2264147"/>
                <a:gd name="connsiteY4" fmla="*/ 459066 h 1346105"/>
                <a:gd name="connsiteX5" fmla="*/ 2264147 w 2264147"/>
                <a:gd name="connsiteY5" fmla="*/ 498149 h 1346105"/>
                <a:gd name="connsiteX0" fmla="*/ 4273 w 2264147"/>
                <a:gd name="connsiteY0" fmla="*/ 1346105 h 1346105"/>
                <a:gd name="connsiteX1" fmla="*/ 0 w 2264147"/>
                <a:gd name="connsiteY1" fmla="*/ 1261492 h 1346105"/>
                <a:gd name="connsiteX2" fmla="*/ 1261492 w 2264147"/>
                <a:gd name="connsiteY2" fmla="*/ 0 h 1346105"/>
                <a:gd name="connsiteX3" fmla="*/ 2234921 w 2264147"/>
                <a:gd name="connsiteY3" fmla="*/ 459066 h 1346105"/>
                <a:gd name="connsiteX4" fmla="*/ 2264147 w 2264147"/>
                <a:gd name="connsiteY4" fmla="*/ 498149 h 1346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147" h="1346105">
                  <a:moveTo>
                    <a:pt x="4273" y="1346105"/>
                  </a:moveTo>
                  <a:lnTo>
                    <a:pt x="0" y="1261492"/>
                  </a:lnTo>
                  <a:cubicBezTo>
                    <a:pt x="0" y="564789"/>
                    <a:pt x="564789" y="0"/>
                    <a:pt x="1261492" y="0"/>
                  </a:cubicBezTo>
                  <a:cubicBezTo>
                    <a:pt x="1653388" y="0"/>
                    <a:pt x="2003545" y="178703"/>
                    <a:pt x="2234921" y="459066"/>
                  </a:cubicBezTo>
                  <a:lnTo>
                    <a:pt x="2264147" y="498149"/>
                  </a:lnTo>
                </a:path>
              </a:pathLst>
            </a:cu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37" name="Freeform 36"/>
            <p:cNvSpPr/>
            <p:nvPr/>
          </p:nvSpPr>
          <p:spPr>
            <a:xfrm rot="21401211">
              <a:off x="4743129" y="383342"/>
              <a:ext cx="270381" cy="271031"/>
            </a:xfrm>
            <a:custGeom>
              <a:avLst/>
              <a:gdLst>
                <a:gd name="connsiteX0" fmla="*/ 61580 w 706822"/>
                <a:gd name="connsiteY0" fmla="*/ 0 h 708521"/>
                <a:gd name="connsiteX1" fmla="*/ 706051 w 706822"/>
                <a:gd name="connsiteY1" fmla="*/ 708521 h 708521"/>
                <a:gd name="connsiteX2" fmla="*/ 0 w 706822"/>
                <a:gd name="connsiteY2" fmla="*/ 256349 h 708521"/>
                <a:gd name="connsiteX3" fmla="*/ 0 w 706822"/>
                <a:gd name="connsiteY3" fmla="*/ 966 h 708521"/>
                <a:gd name="connsiteX4" fmla="*/ 61580 w 706822"/>
                <a:gd name="connsiteY4" fmla="*/ 0 h 708521"/>
                <a:gd name="connsiteX0" fmla="*/ 0 w 706822"/>
                <a:gd name="connsiteY0" fmla="*/ 256349 h 708521"/>
                <a:gd name="connsiteX1" fmla="*/ 0 w 706822"/>
                <a:gd name="connsiteY1" fmla="*/ 966 h 708521"/>
                <a:gd name="connsiteX2" fmla="*/ 61580 w 706822"/>
                <a:gd name="connsiteY2" fmla="*/ 0 h 708521"/>
                <a:gd name="connsiteX3" fmla="*/ 706051 w 706822"/>
                <a:gd name="connsiteY3" fmla="*/ 708521 h 708521"/>
                <a:gd name="connsiteX4" fmla="*/ 91440 w 706822"/>
                <a:gd name="connsiteY4" fmla="*/ 347789 h 708521"/>
                <a:gd name="connsiteX0" fmla="*/ 0 w 706822"/>
                <a:gd name="connsiteY0" fmla="*/ 966 h 708521"/>
                <a:gd name="connsiteX1" fmla="*/ 61580 w 706822"/>
                <a:gd name="connsiteY1" fmla="*/ 0 h 708521"/>
                <a:gd name="connsiteX2" fmla="*/ 706051 w 706822"/>
                <a:gd name="connsiteY2" fmla="*/ 708521 h 708521"/>
                <a:gd name="connsiteX3" fmla="*/ 91440 w 706822"/>
                <a:gd name="connsiteY3" fmla="*/ 347789 h 708521"/>
                <a:gd name="connsiteX0" fmla="*/ 0 w 706822"/>
                <a:gd name="connsiteY0" fmla="*/ 966 h 708521"/>
                <a:gd name="connsiteX1" fmla="*/ 61580 w 706822"/>
                <a:gd name="connsiteY1" fmla="*/ 0 h 708521"/>
                <a:gd name="connsiteX2" fmla="*/ 706051 w 706822"/>
                <a:gd name="connsiteY2" fmla="*/ 708521 h 708521"/>
              </a:gdLst>
              <a:ahLst/>
              <a:cxnLst>
                <a:cxn ang="0">
                  <a:pos x="connsiteX0" y="connsiteY0"/>
                </a:cxn>
                <a:cxn ang="0">
                  <a:pos x="connsiteX1" y="connsiteY1"/>
                </a:cxn>
                <a:cxn ang="0">
                  <a:pos x="connsiteX2" y="connsiteY2"/>
                </a:cxn>
              </a:cxnLst>
              <a:rect l="l" t="t" r="r" b="b"/>
              <a:pathLst>
                <a:path w="706822" h="708521">
                  <a:moveTo>
                    <a:pt x="0" y="966"/>
                  </a:moveTo>
                  <a:lnTo>
                    <a:pt x="61580" y="0"/>
                  </a:lnTo>
                  <a:cubicBezTo>
                    <a:pt x="435199" y="17687"/>
                    <a:pt x="723738" y="334903"/>
                    <a:pt x="706051" y="708521"/>
                  </a:cubicBezTo>
                </a:path>
              </a:pathLst>
            </a:cu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nvGrpSpPr>
          <p:cNvPr id="38" name="Group 37"/>
          <p:cNvGrpSpPr/>
          <p:nvPr/>
        </p:nvGrpSpPr>
        <p:grpSpPr>
          <a:xfrm>
            <a:off x="3410102" y="1779061"/>
            <a:ext cx="2354092" cy="1965382"/>
            <a:chOff x="3410101" y="1779060"/>
            <a:chExt cx="2354092" cy="1965382"/>
          </a:xfrm>
        </p:grpSpPr>
        <p:sp>
          <p:nvSpPr>
            <p:cNvPr id="39" name="TextBox 38"/>
            <p:cNvSpPr txBox="1"/>
            <p:nvPr/>
          </p:nvSpPr>
          <p:spPr>
            <a:xfrm>
              <a:off x="3962535" y="3282777"/>
              <a:ext cx="1218930"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Workplace desktops</a:t>
              </a:r>
            </a:p>
          </p:txBody>
        </p:sp>
        <p:sp>
          <p:nvSpPr>
            <p:cNvPr id="40" name="TextBox 39"/>
            <p:cNvSpPr txBox="1"/>
            <p:nvPr/>
          </p:nvSpPr>
          <p:spPr>
            <a:xfrm>
              <a:off x="4395225" y="2206661"/>
              <a:ext cx="1368968"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Business </a:t>
              </a:r>
              <a:b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apps</a:t>
              </a:r>
            </a:p>
          </p:txBody>
        </p:sp>
        <p:sp>
          <p:nvSpPr>
            <p:cNvPr id="41" name="TextBox 40"/>
            <p:cNvSpPr txBox="1"/>
            <p:nvPr/>
          </p:nvSpPr>
          <p:spPr>
            <a:xfrm>
              <a:off x="3410101" y="2206661"/>
              <a:ext cx="1410550"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Critical </a:t>
              </a:r>
              <a:b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infrastructure</a:t>
              </a:r>
            </a:p>
          </p:txBody>
        </p:sp>
        <p:grpSp>
          <p:nvGrpSpPr>
            <p:cNvPr id="42" name="Group 41"/>
            <p:cNvGrpSpPr/>
            <p:nvPr/>
          </p:nvGrpSpPr>
          <p:grpSpPr>
            <a:xfrm>
              <a:off x="4335416" y="2824235"/>
              <a:ext cx="473167" cy="410632"/>
              <a:chOff x="-945358" y="3037444"/>
              <a:chExt cx="1185949" cy="1029214"/>
            </a:xfrm>
          </p:grpSpPr>
          <p:sp>
            <p:nvSpPr>
              <p:cNvPr id="68" name="Freeform 67"/>
              <p:cNvSpPr>
                <a:spLocks noChangeArrowheads="1"/>
              </p:cNvSpPr>
              <p:nvPr/>
            </p:nvSpPr>
            <p:spPr bwMode="auto">
              <a:xfrm>
                <a:off x="-945358" y="3037444"/>
                <a:ext cx="1185949" cy="924726"/>
              </a:xfrm>
              <a:custGeom>
                <a:avLst/>
                <a:gdLst>
                  <a:gd name="T0" fmla="*/ 998 w 999"/>
                  <a:gd name="T1" fmla="*/ 709 h 779"/>
                  <a:gd name="T2" fmla="*/ 932 w 999"/>
                  <a:gd name="T3" fmla="*/ 778 h 779"/>
                  <a:gd name="T4" fmla="*/ 66 w 999"/>
                  <a:gd name="T5" fmla="*/ 778 h 779"/>
                  <a:gd name="T6" fmla="*/ 0 w 999"/>
                  <a:gd name="T7" fmla="*/ 709 h 779"/>
                  <a:gd name="T8" fmla="*/ 0 w 999"/>
                  <a:gd name="T9" fmla="*/ 69 h 779"/>
                  <a:gd name="T10" fmla="*/ 66 w 999"/>
                  <a:gd name="T11" fmla="*/ 0 h 779"/>
                  <a:gd name="T12" fmla="*/ 932 w 999"/>
                  <a:gd name="T13" fmla="*/ 0 h 779"/>
                  <a:gd name="T14" fmla="*/ 998 w 999"/>
                  <a:gd name="T15" fmla="*/ 69 h 779"/>
                  <a:gd name="T16" fmla="*/ 998 w 999"/>
                  <a:gd name="T17" fmla="*/ 709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9" h="779">
                    <a:moveTo>
                      <a:pt x="998" y="709"/>
                    </a:moveTo>
                    <a:cubicBezTo>
                      <a:pt x="998" y="746"/>
                      <a:pt x="969" y="778"/>
                      <a:pt x="932" y="778"/>
                    </a:cubicBezTo>
                    <a:lnTo>
                      <a:pt x="66" y="778"/>
                    </a:lnTo>
                    <a:cubicBezTo>
                      <a:pt x="29" y="778"/>
                      <a:pt x="0" y="746"/>
                      <a:pt x="0" y="709"/>
                    </a:cubicBezTo>
                    <a:lnTo>
                      <a:pt x="0" y="69"/>
                    </a:lnTo>
                    <a:cubicBezTo>
                      <a:pt x="0" y="32"/>
                      <a:pt x="29" y="0"/>
                      <a:pt x="66" y="0"/>
                    </a:cubicBezTo>
                    <a:lnTo>
                      <a:pt x="932" y="0"/>
                    </a:lnTo>
                    <a:cubicBezTo>
                      <a:pt x="969" y="0"/>
                      <a:pt x="998" y="32"/>
                      <a:pt x="998" y="69"/>
                    </a:cubicBezTo>
                    <a:lnTo>
                      <a:pt x="998" y="709"/>
                    </a:lnTo>
                  </a:path>
                </a:pathLst>
              </a:custGeom>
              <a:noFill/>
              <a:ln w="127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9" name="Line 31"/>
              <p:cNvSpPr>
                <a:spLocks noChangeShapeType="1"/>
              </p:cNvSpPr>
              <p:nvPr/>
            </p:nvSpPr>
            <p:spPr bwMode="auto">
              <a:xfrm>
                <a:off x="-707071" y="4066658"/>
                <a:ext cx="709375" cy="0"/>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70" name="Line 34"/>
              <p:cNvSpPr>
                <a:spLocks noChangeShapeType="1"/>
              </p:cNvSpPr>
              <p:nvPr/>
            </p:nvSpPr>
            <p:spPr bwMode="auto">
              <a:xfrm>
                <a:off x="-943529" y="3753193"/>
                <a:ext cx="1182292" cy="0"/>
              </a:xfrm>
              <a:prstGeom prst="line">
                <a:avLst/>
              </a:prstGeom>
              <a:noFill/>
              <a:ln w="12700" cap="flat">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nvGrpSpPr>
              <p:cNvPr id="71" name="Group 70"/>
              <p:cNvGrpSpPr/>
              <p:nvPr/>
            </p:nvGrpSpPr>
            <p:grpSpPr>
              <a:xfrm>
                <a:off x="-547966" y="3966954"/>
                <a:ext cx="391164" cy="93792"/>
                <a:chOff x="2482279" y="4022365"/>
                <a:chExt cx="211772" cy="50778"/>
              </a:xfrm>
            </p:grpSpPr>
            <p:sp>
              <p:nvSpPr>
                <p:cNvPr id="73" name="Line 32"/>
                <p:cNvSpPr>
                  <a:spLocks noChangeShapeType="1"/>
                </p:cNvSpPr>
                <p:nvPr/>
              </p:nvSpPr>
              <p:spPr bwMode="auto">
                <a:xfrm>
                  <a:off x="2677592" y="4022365"/>
                  <a:ext cx="16459" cy="50778"/>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74" name="Line 32"/>
                <p:cNvSpPr>
                  <a:spLocks noChangeShapeType="1"/>
                </p:cNvSpPr>
                <p:nvPr/>
              </p:nvSpPr>
              <p:spPr bwMode="auto">
                <a:xfrm flipV="1">
                  <a:off x="2482279" y="4022365"/>
                  <a:ext cx="16459" cy="50778"/>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sp>
            <p:nvSpPr>
              <p:cNvPr id="72" name="Freeform 71"/>
              <p:cNvSpPr>
                <a:spLocks noChangeArrowheads="1"/>
              </p:cNvSpPr>
              <p:nvPr/>
            </p:nvSpPr>
            <p:spPr bwMode="auto">
              <a:xfrm>
                <a:off x="-379816" y="3829422"/>
                <a:ext cx="54864" cy="54864"/>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no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43" name="Group 42"/>
            <p:cNvGrpSpPr/>
            <p:nvPr/>
          </p:nvGrpSpPr>
          <p:grpSpPr>
            <a:xfrm>
              <a:off x="3873948" y="1779255"/>
              <a:ext cx="482856" cy="379496"/>
              <a:chOff x="1221211" y="3057047"/>
              <a:chExt cx="425485" cy="334405"/>
            </a:xfrm>
            <a:noFill/>
          </p:grpSpPr>
          <p:grpSp>
            <p:nvGrpSpPr>
              <p:cNvPr id="50" name="Group 49"/>
              <p:cNvGrpSpPr/>
              <p:nvPr/>
            </p:nvGrpSpPr>
            <p:grpSpPr>
              <a:xfrm>
                <a:off x="1221211" y="3057047"/>
                <a:ext cx="425485" cy="111283"/>
                <a:chOff x="1081872" y="2794148"/>
                <a:chExt cx="387779" cy="101421"/>
              </a:xfrm>
              <a:grpFill/>
            </p:grpSpPr>
            <p:sp>
              <p:nvSpPr>
                <p:cNvPr id="63" name="Rounded Rectangle 62"/>
                <p:cNvSpPr/>
                <p:nvPr/>
              </p:nvSpPr>
              <p:spPr>
                <a:xfrm>
                  <a:off x="1081872" y="2794148"/>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64" name="Oval 63"/>
                <p:cNvSpPr>
                  <a:spLocks noChangeAspect="1"/>
                </p:cNvSpPr>
                <p:nvPr/>
              </p:nvSpPr>
              <p:spPr>
                <a:xfrm>
                  <a:off x="1121096" y="2823656"/>
                  <a:ext cx="41680" cy="42102"/>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65" name="Freeform 64"/>
                <p:cNvSpPr>
                  <a:spLocks noChangeArrowheads="1"/>
                </p:cNvSpPr>
                <p:nvPr/>
              </p:nvSpPr>
              <p:spPr bwMode="auto">
                <a:xfrm>
                  <a:off x="1303167"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6" name="Freeform 65"/>
                <p:cNvSpPr>
                  <a:spLocks noChangeArrowheads="1"/>
                </p:cNvSpPr>
                <p:nvPr/>
              </p:nvSpPr>
              <p:spPr bwMode="auto">
                <a:xfrm>
                  <a:off x="1356418"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7" name="Freeform 66"/>
                <p:cNvSpPr>
                  <a:spLocks noChangeArrowheads="1"/>
                </p:cNvSpPr>
                <p:nvPr/>
              </p:nvSpPr>
              <p:spPr bwMode="auto">
                <a:xfrm>
                  <a:off x="1409669"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51" name="Group 50"/>
              <p:cNvGrpSpPr/>
              <p:nvPr/>
            </p:nvGrpSpPr>
            <p:grpSpPr>
              <a:xfrm>
                <a:off x="1221211" y="3168590"/>
                <a:ext cx="425485" cy="111283"/>
                <a:chOff x="1081872" y="2896619"/>
                <a:chExt cx="387779" cy="101421"/>
              </a:xfrm>
              <a:grpFill/>
            </p:grpSpPr>
            <p:sp>
              <p:nvSpPr>
                <p:cNvPr id="58" name="Rounded Rectangle 57"/>
                <p:cNvSpPr/>
                <p:nvPr/>
              </p:nvSpPr>
              <p:spPr>
                <a:xfrm>
                  <a:off x="1081872" y="2896619"/>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9" name="Oval 58"/>
                <p:cNvSpPr>
                  <a:spLocks noChangeAspect="1"/>
                </p:cNvSpPr>
                <p:nvPr/>
              </p:nvSpPr>
              <p:spPr>
                <a:xfrm>
                  <a:off x="1121097" y="2926127"/>
                  <a:ext cx="41981" cy="42406"/>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60" name="Freeform 59"/>
                <p:cNvSpPr>
                  <a:spLocks noChangeArrowheads="1"/>
                </p:cNvSpPr>
                <p:nvPr/>
              </p:nvSpPr>
              <p:spPr bwMode="auto">
                <a:xfrm>
                  <a:off x="1303167"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1" name="Freeform 60"/>
                <p:cNvSpPr>
                  <a:spLocks noChangeArrowheads="1"/>
                </p:cNvSpPr>
                <p:nvPr/>
              </p:nvSpPr>
              <p:spPr bwMode="auto">
                <a:xfrm>
                  <a:off x="1356418"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2" name="Freeform 61"/>
                <p:cNvSpPr>
                  <a:spLocks noChangeArrowheads="1"/>
                </p:cNvSpPr>
                <p:nvPr/>
              </p:nvSpPr>
              <p:spPr bwMode="auto">
                <a:xfrm>
                  <a:off x="1409669"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52" name="Group 51"/>
              <p:cNvGrpSpPr/>
              <p:nvPr/>
            </p:nvGrpSpPr>
            <p:grpSpPr>
              <a:xfrm>
                <a:off x="1221211" y="3280169"/>
                <a:ext cx="425485" cy="111283"/>
                <a:chOff x="1081872" y="2998041"/>
                <a:chExt cx="387779" cy="101421"/>
              </a:xfrm>
              <a:grpFill/>
            </p:grpSpPr>
            <p:sp>
              <p:nvSpPr>
                <p:cNvPr id="53" name="Rounded Rectangle 52"/>
                <p:cNvSpPr/>
                <p:nvPr/>
              </p:nvSpPr>
              <p:spPr>
                <a:xfrm>
                  <a:off x="1081872" y="2998041"/>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4" name="Oval 53"/>
                <p:cNvSpPr>
                  <a:spLocks noChangeAspect="1"/>
                </p:cNvSpPr>
                <p:nvPr/>
              </p:nvSpPr>
              <p:spPr>
                <a:xfrm>
                  <a:off x="1121097" y="3027549"/>
                  <a:ext cx="41981" cy="42406"/>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5" name="Freeform 54"/>
                <p:cNvSpPr>
                  <a:spLocks noChangeArrowheads="1"/>
                </p:cNvSpPr>
                <p:nvPr/>
              </p:nvSpPr>
              <p:spPr bwMode="auto">
                <a:xfrm>
                  <a:off x="1303167"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56" name="Freeform 55"/>
                <p:cNvSpPr>
                  <a:spLocks noChangeArrowheads="1"/>
                </p:cNvSpPr>
                <p:nvPr/>
              </p:nvSpPr>
              <p:spPr bwMode="auto">
                <a:xfrm>
                  <a:off x="1356418"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57" name="Freeform 56"/>
                <p:cNvSpPr>
                  <a:spLocks noChangeArrowheads="1"/>
                </p:cNvSpPr>
                <p:nvPr/>
              </p:nvSpPr>
              <p:spPr bwMode="auto">
                <a:xfrm>
                  <a:off x="1409669"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grpSp>
          <p:nvGrpSpPr>
            <p:cNvPr id="44" name="Group 43"/>
            <p:cNvGrpSpPr/>
            <p:nvPr/>
          </p:nvGrpSpPr>
          <p:grpSpPr>
            <a:xfrm>
              <a:off x="4873212" y="1779060"/>
              <a:ext cx="412994" cy="403552"/>
              <a:chOff x="4244046" y="1779060"/>
              <a:chExt cx="412994" cy="403552"/>
            </a:xfrm>
          </p:grpSpPr>
          <p:sp>
            <p:nvSpPr>
              <p:cNvPr id="45" name="Rounded Rectangle 44"/>
              <p:cNvSpPr/>
              <p:nvPr/>
            </p:nvSpPr>
            <p:spPr>
              <a:xfrm>
                <a:off x="4244046" y="1779060"/>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46" name="Rounded Rectangle 45"/>
              <p:cNvSpPr/>
              <p:nvPr/>
            </p:nvSpPr>
            <p:spPr>
              <a:xfrm>
                <a:off x="4244046" y="1976649"/>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47" name="Rounded Rectangle 46"/>
              <p:cNvSpPr/>
              <p:nvPr/>
            </p:nvSpPr>
            <p:spPr>
              <a:xfrm>
                <a:off x="4448861" y="1779060"/>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48" name="Rounded Rectangle 47"/>
              <p:cNvSpPr/>
              <p:nvPr/>
            </p:nvSpPr>
            <p:spPr>
              <a:xfrm>
                <a:off x="4448861" y="1976649"/>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49" name="Rounded Rectangle 48"/>
              <p:cNvSpPr/>
              <p:nvPr/>
            </p:nvSpPr>
            <p:spPr>
              <a:xfrm>
                <a:off x="4492448" y="2018020"/>
                <a:ext cx="164592" cy="164592"/>
              </a:xfrm>
              <a:prstGeom prst="roundRect">
                <a:avLst/>
              </a:prstGeom>
              <a:solidFill>
                <a:srgbClr val="FFFFFF"/>
              </a:solid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sp>
        <p:nvSpPr>
          <p:cNvPr id="75" name="Title 2"/>
          <p:cNvSpPr txBox="1">
            <a:spLocks/>
          </p:cNvSpPr>
          <p:nvPr/>
        </p:nvSpPr>
        <p:spPr bwMode="auto">
          <a:xfrm>
            <a:off x="296254" y="333769"/>
            <a:ext cx="8268468" cy="3808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0000"/>
              </a:lnSpc>
              <a:spcBef>
                <a:spcPct val="0"/>
              </a:spcBef>
              <a:spcAft>
                <a:spcPct val="0"/>
              </a:spcAft>
              <a:defRPr lang="en-US" sz="2400" kern="1200" baseline="0">
                <a:solidFill>
                  <a:schemeClr val="tx1"/>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80000"/>
              </a:lnSpc>
              <a:spcBef>
                <a:spcPct val="0"/>
              </a:spcBef>
              <a:spcAft>
                <a:spcPct val="0"/>
              </a:spcAft>
              <a:buClrTx/>
              <a:buSzTx/>
              <a:buFontTx/>
              <a:buNone/>
              <a:tabLst/>
              <a:defRPr/>
            </a:pPr>
            <a:r>
              <a:rPr lang="en-US" sz="2800" dirty="0">
                <a:solidFill>
                  <a:srgbClr val="FFFFFF"/>
                </a:solidFill>
                <a:latin typeface="CiscoSansTT ExtraLight"/>
                <a:cs typeface="CiscoSansTT Thin" charset="0"/>
              </a:rPr>
              <a:t>Back Then</a:t>
            </a:r>
            <a:r>
              <a:rPr lang="mr-IN" sz="2800" dirty="0">
                <a:solidFill>
                  <a:srgbClr val="FFFFFF"/>
                </a:solidFill>
                <a:latin typeface="CiscoSansTT ExtraLight"/>
              </a:rPr>
              <a:t>…</a:t>
            </a:r>
            <a:endParaRPr lang="en-US" sz="2800" dirty="0">
              <a:solidFill>
                <a:srgbClr val="FFFFFF"/>
              </a:solidFill>
              <a:latin typeface="CiscoSansTT ExtraLight"/>
              <a:cs typeface="CiscoSansTT Thin" charset="0"/>
            </a:endParaRPr>
          </a:p>
        </p:txBody>
      </p:sp>
      <p:sp>
        <p:nvSpPr>
          <p:cNvPr id="76" name="TextBox 75"/>
          <p:cNvSpPr txBox="1"/>
          <p:nvPr/>
        </p:nvSpPr>
        <p:spPr>
          <a:xfrm>
            <a:off x="4172905" y="447381"/>
            <a:ext cx="820082" cy="276999"/>
          </a:xfrm>
          <a:prstGeom prst="rect">
            <a:avLst/>
          </a:prstGeom>
          <a:ln>
            <a:noFill/>
          </a:ln>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t>Internet</a:t>
            </a:r>
          </a:p>
        </p:txBody>
      </p:sp>
      <p:cxnSp>
        <p:nvCxnSpPr>
          <p:cNvPr id="77" name="Straight Arrow Connector 76"/>
          <p:cNvCxnSpPr/>
          <p:nvPr/>
        </p:nvCxnSpPr>
        <p:spPr bwMode="auto">
          <a:xfrm flipV="1">
            <a:off x="4574018" y="935112"/>
            <a:ext cx="0" cy="273449"/>
          </a:xfrm>
          <a:prstGeom prst="straightConnector1">
            <a:avLst/>
          </a:prstGeom>
          <a:solidFill>
            <a:srgbClr val="F37821"/>
          </a:solidFill>
          <a:ln w="12700" cap="rnd"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78" name="Title 2"/>
          <p:cNvSpPr txBox="1">
            <a:spLocks/>
          </p:cNvSpPr>
          <p:nvPr/>
        </p:nvSpPr>
        <p:spPr bwMode="auto">
          <a:xfrm>
            <a:off x="3681444" y="4222831"/>
            <a:ext cx="8268468" cy="3808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0000"/>
              </a:lnSpc>
              <a:spcBef>
                <a:spcPct val="0"/>
              </a:spcBef>
              <a:spcAft>
                <a:spcPct val="0"/>
              </a:spcAft>
              <a:defRPr lang="en-US" sz="2400" kern="1200" baseline="0">
                <a:solidFill>
                  <a:schemeClr val="tx1"/>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80000"/>
              </a:lnSpc>
              <a:spcBef>
                <a:spcPct val="0"/>
              </a:spcBef>
              <a:spcAft>
                <a:spcPct val="0"/>
              </a:spcAft>
              <a:buClrTx/>
              <a:buSzTx/>
              <a:buFontTx/>
              <a:buNone/>
              <a:tabLst/>
              <a:defRPr/>
            </a:pPr>
            <a:r>
              <a:rPr kumimoji="0" lang="mr-IN" sz="2400" b="0" i="0" u="none" strike="noStrike" kern="1200" cap="none" spc="0" normalizeH="0" baseline="0" noProof="0" dirty="0">
                <a:ln>
                  <a:noFill/>
                </a:ln>
                <a:solidFill>
                  <a:srgbClr val="FFFFFF"/>
                </a:solidFill>
                <a:effectLst/>
                <a:uLnTx/>
                <a:uFillTx/>
                <a:latin typeface="Arial"/>
                <a:ea typeface="ＭＳ Ｐゴシック" charset="0"/>
                <a:cs typeface="CiscoSans"/>
              </a:rPr>
              <a:t>…</a:t>
            </a:r>
            <a:r>
              <a:rPr kumimoji="0" lang="en-US" sz="2400" b="0" i="0" u="none" strike="noStrike" kern="1200" cap="none" spc="0" normalizeH="0" baseline="0" noProof="0" dirty="0">
                <a:ln>
                  <a:noFill/>
                </a:ln>
                <a:solidFill>
                  <a:srgbClr val="FFFFFF"/>
                </a:solidFill>
                <a:effectLst/>
                <a:uLnTx/>
                <a:uFillTx/>
                <a:latin typeface="Arial"/>
                <a:ea typeface="ＭＳ Ｐゴシック" charset="0"/>
              </a:rPr>
              <a:t>i</a:t>
            </a:r>
            <a:r>
              <a:rPr kumimoji="0" lang="en-US" sz="2400" b="0" i="0" u="none" strike="noStrike" kern="1200" cap="none" spc="0" normalizeH="0" baseline="0" noProof="0" dirty="0">
                <a:ln>
                  <a:noFill/>
                </a:ln>
                <a:solidFill>
                  <a:srgbClr val="FFFFFF"/>
                </a:solidFill>
                <a:effectLst/>
                <a:uLnTx/>
                <a:uFillTx/>
                <a:latin typeface="Arial"/>
                <a:ea typeface="ＭＳ Ｐゴシック" charset="0"/>
                <a:cs typeface="CiscoSans"/>
              </a:rPr>
              <a:t>t was all about Perimeter Security</a:t>
            </a:r>
            <a:r>
              <a:rPr kumimoji="0" lang="mr-IN" sz="2400" b="0" i="0" u="none" strike="noStrike" kern="1200" cap="none" spc="0" normalizeH="0" baseline="0" noProof="0" dirty="0">
                <a:ln>
                  <a:noFill/>
                </a:ln>
                <a:solidFill>
                  <a:srgbClr val="FFFFFF"/>
                </a:solidFill>
                <a:effectLst/>
                <a:uLnTx/>
                <a:uFillTx/>
                <a:latin typeface="Arial"/>
                <a:ea typeface="ＭＳ Ｐゴシック" charset="0"/>
                <a:cs typeface="CiscoSans"/>
              </a:rPr>
              <a:t>…</a:t>
            </a:r>
            <a:endParaRPr kumimoji="0" lang="en-US" sz="2400" b="0" i="0" u="none" strike="noStrike" kern="1200" cap="none" spc="0" normalizeH="0" baseline="0" noProof="0" dirty="0">
              <a:ln>
                <a:noFill/>
              </a:ln>
              <a:solidFill>
                <a:srgbClr val="FFFFFF"/>
              </a:solidFill>
              <a:effectLst/>
              <a:uLnTx/>
              <a:uFillTx/>
              <a:latin typeface="Arial"/>
              <a:ea typeface="ＭＳ Ｐゴシック" charset="0"/>
            </a:endParaRPr>
          </a:p>
          <a:p>
            <a:pPr marL="0" marR="0" lvl="0" indent="0" algn="l" defTabSz="684196" rtl="0" eaLnBrk="1" fontAlgn="base" latinLnBrk="0" hangingPunct="1">
              <a:lnSpc>
                <a:spcPct val="8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ＭＳ Ｐゴシック" charset="0"/>
              <a:cs typeface="CiscoSans"/>
            </a:endParaRPr>
          </a:p>
        </p:txBody>
      </p:sp>
      <p:sp>
        <p:nvSpPr>
          <p:cNvPr id="79" name="Title 2"/>
          <p:cNvSpPr txBox="1">
            <a:spLocks/>
          </p:cNvSpPr>
          <p:nvPr/>
        </p:nvSpPr>
        <p:spPr bwMode="auto">
          <a:xfrm>
            <a:off x="3712617" y="4600569"/>
            <a:ext cx="8268468" cy="3808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0000"/>
              </a:lnSpc>
              <a:spcBef>
                <a:spcPct val="0"/>
              </a:spcBef>
              <a:spcAft>
                <a:spcPct val="0"/>
              </a:spcAft>
              <a:defRPr lang="en-US" sz="2400" kern="1200" baseline="0">
                <a:solidFill>
                  <a:schemeClr val="tx1"/>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80000"/>
              </a:lnSpc>
              <a:spcBef>
                <a:spcPct val="0"/>
              </a:spcBef>
              <a:spcAft>
                <a:spcPct val="0"/>
              </a:spcAft>
              <a:buClrTx/>
              <a:buSzTx/>
              <a:buFontTx/>
              <a:buNone/>
              <a:tabLst/>
              <a:defRPr/>
            </a:pPr>
            <a:r>
              <a:rPr kumimoji="0" lang="mr-IN" sz="2400" b="0" i="0" u="none" strike="noStrike" kern="1200" cap="none" spc="0" normalizeH="0" baseline="0" noProof="0" dirty="0">
                <a:ln>
                  <a:noFill/>
                </a:ln>
                <a:solidFill>
                  <a:srgbClr val="FFFFFF"/>
                </a:solidFill>
                <a:effectLst/>
                <a:uLnTx/>
                <a:uFillTx/>
                <a:latin typeface="Arial"/>
                <a:ea typeface="ＭＳ Ｐゴシック" charset="0"/>
                <a:cs typeface="CiscoSans"/>
              </a:rPr>
              <a:t>…</a:t>
            </a:r>
            <a:r>
              <a:rPr kumimoji="0" lang="en-US" sz="2400" b="0" i="0" u="none" strike="noStrike" kern="1200" cap="none" spc="0" normalizeH="0" baseline="0" noProof="0" dirty="0">
                <a:ln>
                  <a:noFill/>
                </a:ln>
                <a:solidFill>
                  <a:srgbClr val="FFFFFF"/>
                </a:solidFill>
                <a:effectLst/>
                <a:uLnTx/>
                <a:uFillTx/>
                <a:latin typeface="Arial"/>
                <a:ea typeface="ＭＳ Ｐゴシック" charset="0"/>
              </a:rPr>
              <a:t>a</a:t>
            </a:r>
            <a:r>
              <a:rPr kumimoji="0" lang="en-US" sz="2400" b="0" i="0" u="none" strike="noStrike" kern="1200" cap="none" spc="0" normalizeH="0" baseline="0" noProof="0" dirty="0" err="1">
                <a:ln>
                  <a:noFill/>
                </a:ln>
                <a:solidFill>
                  <a:srgbClr val="FFFFFF"/>
                </a:solidFill>
                <a:effectLst/>
                <a:uLnTx/>
                <a:uFillTx/>
                <a:latin typeface="Arial"/>
                <a:ea typeface="ＭＳ Ｐゴシック" charset="0"/>
                <a:cs typeface="CiscoSans"/>
              </a:rPr>
              <a:t>nd</a:t>
            </a:r>
            <a:r>
              <a:rPr kumimoji="0" lang="en-US" sz="2400" b="0" i="0" u="none" strike="noStrike" kern="1200" cap="none" spc="0" normalizeH="0" baseline="0" noProof="0" dirty="0">
                <a:ln>
                  <a:noFill/>
                </a:ln>
                <a:solidFill>
                  <a:srgbClr val="FFFFFF"/>
                </a:solidFill>
                <a:effectLst/>
                <a:uLnTx/>
                <a:uFillTx/>
                <a:latin typeface="Arial"/>
                <a:ea typeface="ＭＳ Ｐゴシック" charset="0"/>
                <a:cs typeface="CiscoSans"/>
              </a:rPr>
              <a:t> a Big Fat Firewall!</a:t>
            </a:r>
            <a:endParaRPr kumimoji="0" lang="en-US" sz="2400" b="0" i="0" u="none" strike="noStrike" kern="1200" cap="none" spc="0" normalizeH="0" baseline="0" noProof="0" dirty="0">
              <a:ln>
                <a:noFill/>
              </a:ln>
              <a:solidFill>
                <a:srgbClr val="FFFFFF"/>
              </a:solidFill>
              <a:effectLst/>
              <a:uLnTx/>
              <a:uFillTx/>
              <a:latin typeface="Arial"/>
              <a:ea typeface="ＭＳ Ｐゴシック" charset="0"/>
            </a:endParaRPr>
          </a:p>
          <a:p>
            <a:pPr marL="0" marR="0" lvl="0" indent="0" algn="l" defTabSz="684196" rtl="0" eaLnBrk="1" fontAlgn="base" latinLnBrk="0" hangingPunct="1">
              <a:lnSpc>
                <a:spcPct val="8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ＭＳ Ｐゴシック" charset="0"/>
              <a:cs typeface="CiscoSans"/>
            </a:endParaRPr>
          </a:p>
        </p:txBody>
      </p:sp>
    </p:spTree>
    <p:extLst>
      <p:ext uri="{BB962C8B-B14F-4D97-AF65-F5344CB8AC3E}">
        <p14:creationId xmlns:p14="http://schemas.microsoft.com/office/powerpoint/2010/main" val="1077610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heel(1)">
                                      <p:cBhvr>
                                        <p:cTn id="7" dur="100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par>
                          <p:cTn id="11" fill="hold">
                            <p:stCondLst>
                              <p:cond delay="1000"/>
                            </p:stCondLst>
                            <p:childTnLst>
                              <p:par>
                                <p:cTn id="12" presetID="10" presetClass="entr" presetSubtype="0" fill="hold" nodeType="afterEffect">
                                  <p:stCondLst>
                                    <p:cond delay="500"/>
                                  </p:stCondLst>
                                  <p:childTnLst>
                                    <p:set>
                                      <p:cBhvr>
                                        <p:cTn id="13" dur="1" fill="hold">
                                          <p:stCondLst>
                                            <p:cond delay="0"/>
                                          </p:stCondLst>
                                        </p:cTn>
                                        <p:tgtEl>
                                          <p:spTgt spid="32"/>
                                        </p:tgtEl>
                                        <p:attrNameLst>
                                          <p:attrName>style.visibility</p:attrName>
                                        </p:attrNameLst>
                                      </p:cBhvr>
                                      <p:to>
                                        <p:strVal val="visible"/>
                                      </p:to>
                                    </p:set>
                                    <p:animEffect transition="in" filter="fade">
                                      <p:cBhvr>
                                        <p:cTn id="14" dur="500"/>
                                        <p:tgtEl>
                                          <p:spTgt spid="32"/>
                                        </p:tgtEl>
                                      </p:cBhvr>
                                    </p:animEffect>
                                  </p:childTnLst>
                                </p:cTn>
                              </p:par>
                              <p:par>
                                <p:cTn id="15" presetID="22" presetClass="entr" presetSubtype="4" fill="hold" nodeType="withEffect">
                                  <p:stCondLst>
                                    <p:cond delay="500"/>
                                  </p:stCondLst>
                                  <p:childTnLst>
                                    <p:set>
                                      <p:cBhvr>
                                        <p:cTn id="16" dur="1" fill="hold">
                                          <p:stCondLst>
                                            <p:cond delay="0"/>
                                          </p:stCondLst>
                                        </p:cTn>
                                        <p:tgtEl>
                                          <p:spTgt spid="77"/>
                                        </p:tgtEl>
                                        <p:attrNameLst>
                                          <p:attrName>style.visibility</p:attrName>
                                        </p:attrNameLst>
                                      </p:cBhvr>
                                      <p:to>
                                        <p:strVal val="visible"/>
                                      </p:to>
                                    </p:set>
                                    <p:animEffect transition="in" filter="wipe(down)">
                                      <p:cBhvr>
                                        <p:cTn id="17" dur="250"/>
                                        <p:tgtEl>
                                          <p:spTgt spid="77"/>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76"/>
                                        </p:tgtEl>
                                        <p:attrNameLst>
                                          <p:attrName>style.visibility</p:attrName>
                                        </p:attrNameLst>
                                      </p:cBhvr>
                                      <p:to>
                                        <p:strVal val="visible"/>
                                      </p:to>
                                    </p:set>
                                    <p:animEffect transition="in" filter="fade">
                                      <p:cBhvr>
                                        <p:cTn id="20" dur="25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7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1259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1999" t="17292" b="-1"/>
          <a:stretch/>
        </p:blipFill>
        <p:spPr>
          <a:xfrm>
            <a:off x="0" y="0"/>
            <a:ext cx="9144000" cy="5143500"/>
          </a:xfrm>
          <a:prstGeom prst="rect">
            <a:avLst/>
          </a:prstGeom>
        </p:spPr>
      </p:pic>
      <p:sp>
        <p:nvSpPr>
          <p:cNvPr id="6" name="Rectangle 5"/>
          <p:cNvSpPr/>
          <p:nvPr/>
        </p:nvSpPr>
        <p:spPr>
          <a:xfrm>
            <a:off x="43615" y="0"/>
            <a:ext cx="9144000" cy="5143500"/>
          </a:xfrm>
          <a:prstGeom prst="rect">
            <a:avLst/>
          </a:prstGeom>
          <a:solidFill>
            <a:schemeClr val="bg2">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9" name="Straight Arrow Connector 18"/>
          <p:cNvCxnSpPr/>
          <p:nvPr/>
        </p:nvCxnSpPr>
        <p:spPr bwMode="auto">
          <a:xfrm flipV="1">
            <a:off x="4574018" y="935112"/>
            <a:ext cx="0" cy="273449"/>
          </a:xfrm>
          <a:prstGeom prst="straightConnector1">
            <a:avLst/>
          </a:prstGeom>
          <a:solidFill>
            <a:srgbClr val="F37821"/>
          </a:solidFill>
          <a:ln w="12700" cap="rnd"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0" name="Straight Arrow Connector 19"/>
          <p:cNvCxnSpPr/>
          <p:nvPr/>
        </p:nvCxnSpPr>
        <p:spPr bwMode="auto">
          <a:xfrm flipH="1" flipV="1">
            <a:off x="2935767" y="2069206"/>
            <a:ext cx="363103" cy="117980"/>
          </a:xfrm>
          <a:prstGeom prst="straightConnector1">
            <a:avLst/>
          </a:prstGeom>
          <a:solidFill>
            <a:srgbClr val="F37821"/>
          </a:solidFill>
          <a:ln w="12700" cap="rnd" cmpd="sng" algn="ctr">
            <a:solidFill>
              <a:schemeClr val="tx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5" name="Straight Arrow Connector 24"/>
          <p:cNvCxnSpPr/>
          <p:nvPr/>
        </p:nvCxnSpPr>
        <p:spPr bwMode="auto">
          <a:xfrm flipV="1">
            <a:off x="5845133" y="2059582"/>
            <a:ext cx="363103" cy="117980"/>
          </a:xfrm>
          <a:prstGeom prst="straightConnector1">
            <a:avLst/>
          </a:prstGeom>
          <a:solidFill>
            <a:srgbClr val="F37821"/>
          </a:solidFill>
          <a:ln w="12700" cap="rnd" cmpd="sng" algn="ctr">
            <a:solidFill>
              <a:schemeClr val="tx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0" name="Straight Arrow Connector 29"/>
          <p:cNvCxnSpPr/>
          <p:nvPr/>
        </p:nvCxnSpPr>
        <p:spPr bwMode="auto">
          <a:xfrm rot="4320000" flipV="1">
            <a:off x="5319385" y="3742903"/>
            <a:ext cx="363103" cy="117980"/>
          </a:xfrm>
          <a:prstGeom prst="straightConnector1">
            <a:avLst/>
          </a:prstGeom>
          <a:solidFill>
            <a:srgbClr val="F37821"/>
          </a:solidFill>
          <a:ln w="12700" cap="rnd" cmpd="sng" algn="ctr">
            <a:solidFill>
              <a:schemeClr val="tx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31" name="Straight Arrow Connector 30"/>
          <p:cNvCxnSpPr/>
          <p:nvPr/>
        </p:nvCxnSpPr>
        <p:spPr bwMode="auto">
          <a:xfrm rot="17280000" flipH="1" flipV="1">
            <a:off x="3461513" y="3742903"/>
            <a:ext cx="363103" cy="117980"/>
          </a:xfrm>
          <a:prstGeom prst="straightConnector1">
            <a:avLst/>
          </a:prstGeom>
          <a:solidFill>
            <a:srgbClr val="F37821"/>
          </a:solidFill>
          <a:ln w="12700" cap="rnd" cmpd="sng" algn="ctr">
            <a:solidFill>
              <a:schemeClr val="tx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32" name="Freeform 31"/>
          <p:cNvSpPr/>
          <p:nvPr/>
        </p:nvSpPr>
        <p:spPr>
          <a:xfrm>
            <a:off x="2522517" y="580889"/>
            <a:ext cx="4098964" cy="4034133"/>
          </a:xfrm>
          <a:custGeom>
            <a:avLst/>
            <a:gdLst>
              <a:gd name="connsiteX0" fmla="*/ 1546240 w 4098964"/>
              <a:gd name="connsiteY0" fmla="*/ 0 h 4034133"/>
              <a:gd name="connsiteX1" fmla="*/ 1546240 w 4098964"/>
              <a:gd name="connsiteY1" fmla="*/ 191871 h 4034133"/>
              <a:gd name="connsiteX2" fmla="*/ 2555509 w 4098964"/>
              <a:gd name="connsiteY2" fmla="*/ 191871 h 4034133"/>
              <a:gd name="connsiteX3" fmla="*/ 2555509 w 4098964"/>
              <a:gd name="connsiteY3" fmla="*/ 716 h 4034133"/>
              <a:gd name="connsiteX4" fmla="*/ 2658935 w 4098964"/>
              <a:gd name="connsiteY4" fmla="*/ 27310 h 4034133"/>
              <a:gd name="connsiteX5" fmla="*/ 4098964 w 4098964"/>
              <a:gd name="connsiteY5" fmla="*/ 1984651 h 4034133"/>
              <a:gd name="connsiteX6" fmla="*/ 2049482 w 4098964"/>
              <a:gd name="connsiteY6" fmla="*/ 4034133 h 4034133"/>
              <a:gd name="connsiteX7" fmla="*/ 0 w 4098964"/>
              <a:gd name="connsiteY7" fmla="*/ 1984651 h 4034133"/>
              <a:gd name="connsiteX8" fmla="*/ 1440029 w 4098964"/>
              <a:gd name="connsiteY8" fmla="*/ 27310 h 4034133"/>
              <a:gd name="connsiteX9" fmla="*/ 1546240 w 4098964"/>
              <a:gd name="connsiteY9" fmla="*/ 0 h 4034133"/>
              <a:gd name="connsiteX0" fmla="*/ 1546240 w 4098964"/>
              <a:gd name="connsiteY0" fmla="*/ 191871 h 4034133"/>
              <a:gd name="connsiteX1" fmla="*/ 2555509 w 4098964"/>
              <a:gd name="connsiteY1" fmla="*/ 191871 h 4034133"/>
              <a:gd name="connsiteX2" fmla="*/ 2555509 w 4098964"/>
              <a:gd name="connsiteY2" fmla="*/ 716 h 4034133"/>
              <a:gd name="connsiteX3" fmla="*/ 2658935 w 4098964"/>
              <a:gd name="connsiteY3" fmla="*/ 27310 h 4034133"/>
              <a:gd name="connsiteX4" fmla="*/ 4098964 w 4098964"/>
              <a:gd name="connsiteY4" fmla="*/ 1984651 h 4034133"/>
              <a:gd name="connsiteX5" fmla="*/ 2049482 w 4098964"/>
              <a:gd name="connsiteY5" fmla="*/ 4034133 h 4034133"/>
              <a:gd name="connsiteX6" fmla="*/ 0 w 4098964"/>
              <a:gd name="connsiteY6" fmla="*/ 1984651 h 4034133"/>
              <a:gd name="connsiteX7" fmla="*/ 1440029 w 4098964"/>
              <a:gd name="connsiteY7" fmla="*/ 27310 h 4034133"/>
              <a:gd name="connsiteX8" fmla="*/ 1546240 w 4098964"/>
              <a:gd name="connsiteY8" fmla="*/ 0 h 4034133"/>
              <a:gd name="connsiteX9" fmla="*/ 1637680 w 4098964"/>
              <a:gd name="connsiteY9" fmla="*/ 283311 h 4034133"/>
              <a:gd name="connsiteX0" fmla="*/ 1546240 w 4098964"/>
              <a:gd name="connsiteY0" fmla="*/ 191871 h 4034133"/>
              <a:gd name="connsiteX1" fmla="*/ 2555509 w 4098964"/>
              <a:gd name="connsiteY1" fmla="*/ 191871 h 4034133"/>
              <a:gd name="connsiteX2" fmla="*/ 2555509 w 4098964"/>
              <a:gd name="connsiteY2" fmla="*/ 716 h 4034133"/>
              <a:gd name="connsiteX3" fmla="*/ 2658935 w 4098964"/>
              <a:gd name="connsiteY3" fmla="*/ 27310 h 4034133"/>
              <a:gd name="connsiteX4" fmla="*/ 4098964 w 4098964"/>
              <a:gd name="connsiteY4" fmla="*/ 1984651 h 4034133"/>
              <a:gd name="connsiteX5" fmla="*/ 2049482 w 4098964"/>
              <a:gd name="connsiteY5" fmla="*/ 4034133 h 4034133"/>
              <a:gd name="connsiteX6" fmla="*/ 0 w 4098964"/>
              <a:gd name="connsiteY6" fmla="*/ 1984651 h 4034133"/>
              <a:gd name="connsiteX7" fmla="*/ 1440029 w 4098964"/>
              <a:gd name="connsiteY7" fmla="*/ 27310 h 4034133"/>
              <a:gd name="connsiteX8" fmla="*/ 1546240 w 4098964"/>
              <a:gd name="connsiteY8" fmla="*/ 0 h 4034133"/>
              <a:gd name="connsiteX0" fmla="*/ 2555509 w 4098964"/>
              <a:gd name="connsiteY0" fmla="*/ 191871 h 4034133"/>
              <a:gd name="connsiteX1" fmla="*/ 2555509 w 4098964"/>
              <a:gd name="connsiteY1" fmla="*/ 716 h 4034133"/>
              <a:gd name="connsiteX2" fmla="*/ 2658935 w 4098964"/>
              <a:gd name="connsiteY2" fmla="*/ 27310 h 4034133"/>
              <a:gd name="connsiteX3" fmla="*/ 4098964 w 4098964"/>
              <a:gd name="connsiteY3" fmla="*/ 1984651 h 4034133"/>
              <a:gd name="connsiteX4" fmla="*/ 2049482 w 4098964"/>
              <a:gd name="connsiteY4" fmla="*/ 4034133 h 4034133"/>
              <a:gd name="connsiteX5" fmla="*/ 0 w 4098964"/>
              <a:gd name="connsiteY5" fmla="*/ 1984651 h 4034133"/>
              <a:gd name="connsiteX6" fmla="*/ 1440029 w 4098964"/>
              <a:gd name="connsiteY6" fmla="*/ 27310 h 4034133"/>
              <a:gd name="connsiteX7" fmla="*/ 1546240 w 4098964"/>
              <a:gd name="connsiteY7" fmla="*/ 0 h 4034133"/>
              <a:gd name="connsiteX0" fmla="*/ 2555509 w 4098964"/>
              <a:gd name="connsiteY0" fmla="*/ 716 h 4034133"/>
              <a:gd name="connsiteX1" fmla="*/ 2658935 w 4098964"/>
              <a:gd name="connsiteY1" fmla="*/ 27310 h 4034133"/>
              <a:gd name="connsiteX2" fmla="*/ 4098964 w 4098964"/>
              <a:gd name="connsiteY2" fmla="*/ 1984651 h 4034133"/>
              <a:gd name="connsiteX3" fmla="*/ 2049482 w 4098964"/>
              <a:gd name="connsiteY3" fmla="*/ 4034133 h 4034133"/>
              <a:gd name="connsiteX4" fmla="*/ 0 w 4098964"/>
              <a:gd name="connsiteY4" fmla="*/ 1984651 h 4034133"/>
              <a:gd name="connsiteX5" fmla="*/ 1440029 w 4098964"/>
              <a:gd name="connsiteY5" fmla="*/ 27310 h 4034133"/>
              <a:gd name="connsiteX6" fmla="*/ 1546240 w 4098964"/>
              <a:gd name="connsiteY6" fmla="*/ 0 h 403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8964" h="4034133">
                <a:moveTo>
                  <a:pt x="2555509" y="716"/>
                </a:moveTo>
                <a:lnTo>
                  <a:pt x="2658935" y="27310"/>
                </a:lnTo>
                <a:cubicBezTo>
                  <a:pt x="3493215" y="286798"/>
                  <a:pt x="4098964" y="1064984"/>
                  <a:pt x="4098964" y="1984651"/>
                </a:cubicBezTo>
                <a:cubicBezTo>
                  <a:pt x="4098964" y="3116549"/>
                  <a:pt x="3181380" y="4034133"/>
                  <a:pt x="2049482" y="4034133"/>
                </a:cubicBezTo>
                <a:cubicBezTo>
                  <a:pt x="917584" y="4034133"/>
                  <a:pt x="0" y="3116549"/>
                  <a:pt x="0" y="1984651"/>
                </a:cubicBezTo>
                <a:cubicBezTo>
                  <a:pt x="0" y="1064984"/>
                  <a:pt x="605749" y="286798"/>
                  <a:pt x="1440029" y="27310"/>
                </a:cubicBezTo>
                <a:lnTo>
                  <a:pt x="1546240" y="0"/>
                </a:lnTo>
              </a:path>
            </a:pathLst>
          </a:custGeom>
          <a:noFill/>
          <a:ln w="12700" cap="rnd" cmpd="sng" algn="ctr">
            <a:solidFill>
              <a:schemeClr val="tx1"/>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33" name="TextBox 32"/>
          <p:cNvSpPr txBox="1"/>
          <p:nvPr/>
        </p:nvSpPr>
        <p:spPr>
          <a:xfrm>
            <a:off x="6451971" y="1140680"/>
            <a:ext cx="2174098" cy="707886"/>
          </a:xfrm>
          <a:prstGeom prst="rect">
            <a:avLst/>
          </a:prstGeom>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t>Business apps</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t>Salesforce, Office 365,</a:t>
            </a:r>
            <a:b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t>G Suite, etc.</a:t>
            </a:r>
          </a:p>
        </p:txBody>
      </p:sp>
      <p:sp>
        <p:nvSpPr>
          <p:cNvPr id="34" name="TextBox 33"/>
          <p:cNvSpPr txBox="1"/>
          <p:nvPr/>
        </p:nvSpPr>
        <p:spPr>
          <a:xfrm>
            <a:off x="6299908" y="4040493"/>
            <a:ext cx="1973888" cy="338554"/>
          </a:xfrm>
          <a:prstGeom prst="rect">
            <a:avLst/>
          </a:prstGeom>
        </p:spPr>
        <p:txBody>
          <a:bodyPr wrap="squar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t>Branch office</a:t>
            </a:r>
          </a:p>
        </p:txBody>
      </p:sp>
      <p:sp>
        <p:nvSpPr>
          <p:cNvPr id="35" name="TextBox 34"/>
          <p:cNvSpPr txBox="1"/>
          <p:nvPr/>
        </p:nvSpPr>
        <p:spPr>
          <a:xfrm>
            <a:off x="392295" y="1140680"/>
            <a:ext cx="2174098" cy="707886"/>
          </a:xfrm>
          <a:prstGeom prst="rect">
            <a:avLst/>
          </a:prstGeom>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t>Critical infrastructure</a:t>
            </a:r>
            <a:b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t>Amazon, Rackspace, Windows Azure, etc.</a:t>
            </a:r>
          </a:p>
        </p:txBody>
      </p:sp>
      <p:sp>
        <p:nvSpPr>
          <p:cNvPr id="36" name="TextBox 35"/>
          <p:cNvSpPr txBox="1"/>
          <p:nvPr/>
        </p:nvSpPr>
        <p:spPr>
          <a:xfrm>
            <a:off x="907595" y="4040493"/>
            <a:ext cx="1993455" cy="535531"/>
          </a:xfrm>
          <a:prstGeom prst="rect">
            <a:avLst/>
          </a:prstGeom>
        </p:spPr>
        <p:txBody>
          <a:bodyPr wrap="square" rtlCol="0">
            <a:spAutoFit/>
          </a:bodyPr>
          <a:lstStyle/>
          <a:p>
            <a:pPr marL="0" marR="0" lvl="0" indent="0" algn="r" defTabSz="685800" rtl="0" eaLnBrk="1" fontAlgn="base" latinLnBrk="0" hangingPunct="1">
              <a:lnSpc>
                <a:spcPct val="90000"/>
              </a:lnSpc>
              <a:spcBef>
                <a:spcPct val="0"/>
              </a:spcBef>
              <a:spcAft>
                <a:spcPct val="0"/>
              </a:spcAft>
              <a:buClrTx/>
              <a:buSzTx/>
              <a:buFontTx/>
              <a:buNone/>
              <a:tabLst/>
              <a:defRPr/>
            </a:pPr>
            <a: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t>Roaming laptops &amp;</a:t>
            </a:r>
          </a:p>
          <a:p>
            <a:pPr marL="0" marR="0" lvl="0" indent="0" algn="r" defTabSz="685800" rtl="0" eaLnBrk="1" fontAlgn="base" latinLnBrk="0" hangingPunct="1">
              <a:lnSpc>
                <a:spcPct val="90000"/>
              </a:lnSpc>
              <a:spcBef>
                <a:spcPct val="0"/>
              </a:spcBef>
              <a:spcAft>
                <a:spcPct val="0"/>
              </a:spcAft>
              <a:buClrTx/>
              <a:buSzTx/>
              <a:buFontTx/>
              <a:buNone/>
              <a:tabLst/>
              <a:defRPr/>
            </a:pPr>
            <a:r>
              <a:rPr kumimoji="1" lang="en-US" sz="1600" b="0" i="0" u="none" strike="noStrike" kern="1200" cap="none" spc="0" normalizeH="0" baseline="0" noProof="0" dirty="0" err="1">
                <a:ln>
                  <a:noFill/>
                </a:ln>
                <a:solidFill>
                  <a:srgbClr val="FFFFFF"/>
                </a:solidFill>
                <a:effectLst/>
                <a:uLnTx/>
                <a:uFillTx/>
                <a:latin typeface="Arial"/>
                <a:ea typeface="CiscoSansTT" charset="0"/>
                <a:cs typeface="CiscoSansTT" charset="0"/>
              </a:rPr>
              <a:t>IoT</a:t>
            </a:r>
            <a:r>
              <a:rPr kumimoji="1" lang="en-US" sz="1600" b="0" i="0" u="none" strike="noStrike" kern="1200" cap="none" spc="0" normalizeH="0" baseline="0" noProof="0" dirty="0">
                <a:ln>
                  <a:noFill/>
                </a:ln>
                <a:solidFill>
                  <a:srgbClr val="FFFFFF"/>
                </a:solidFill>
                <a:effectLst/>
                <a:uLnTx/>
                <a:uFillTx/>
                <a:latin typeface="Arial"/>
                <a:ea typeface="CiscoSansTT" charset="0"/>
                <a:cs typeface="CiscoSansTT" charset="0"/>
              </a:rPr>
              <a:t> Devices</a:t>
            </a:r>
          </a:p>
        </p:txBody>
      </p:sp>
      <p:grpSp>
        <p:nvGrpSpPr>
          <p:cNvPr id="37" name="Group 36"/>
          <p:cNvGrpSpPr/>
          <p:nvPr/>
        </p:nvGrpSpPr>
        <p:grpSpPr>
          <a:xfrm>
            <a:off x="6182795" y="1610315"/>
            <a:ext cx="689376" cy="689376"/>
            <a:chOff x="7237770" y="505609"/>
            <a:chExt cx="689376" cy="689376"/>
          </a:xfrm>
        </p:grpSpPr>
        <p:sp>
          <p:nvSpPr>
            <p:cNvPr id="38" name="Oval 37"/>
            <p:cNvSpPr/>
            <p:nvPr/>
          </p:nvSpPr>
          <p:spPr>
            <a:xfrm>
              <a:off x="7237770" y="505609"/>
              <a:ext cx="689376" cy="689376"/>
            </a:xfrm>
            <a:prstGeom prst="ellipse">
              <a:avLst/>
            </a:prstGeom>
            <a:solidFill>
              <a:srgbClr val="049FD9"/>
            </a:solidFill>
            <a:ln w="2540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nvGrpSpPr>
            <p:cNvPr id="39" name="Group 38"/>
            <p:cNvGrpSpPr/>
            <p:nvPr/>
          </p:nvGrpSpPr>
          <p:grpSpPr>
            <a:xfrm>
              <a:off x="7386229" y="651736"/>
              <a:ext cx="392460" cy="397124"/>
              <a:chOff x="5480254" y="2333082"/>
              <a:chExt cx="393192" cy="397865"/>
            </a:xfrm>
          </p:grpSpPr>
          <p:sp>
            <p:nvSpPr>
              <p:cNvPr id="40" name="Freeform 6"/>
              <p:cNvSpPr>
                <a:spLocks noChangeArrowheads="1"/>
              </p:cNvSpPr>
              <p:nvPr/>
            </p:nvSpPr>
            <p:spPr bwMode="auto">
              <a:xfrm flipH="1">
                <a:off x="5581723" y="2521334"/>
                <a:ext cx="210949" cy="209613"/>
              </a:xfrm>
              <a:custGeom>
                <a:avLst/>
                <a:gdLst>
                  <a:gd name="T0" fmla="*/ 468 w 1392"/>
                  <a:gd name="T1" fmla="*/ 1384 h 1385"/>
                  <a:gd name="T2" fmla="*/ 93 w 1392"/>
                  <a:gd name="T3" fmla="*/ 1384 h 1385"/>
                  <a:gd name="T4" fmla="*/ 0 w 1392"/>
                  <a:gd name="T5" fmla="*/ 1291 h 1385"/>
                  <a:gd name="T6" fmla="*/ 0 w 1392"/>
                  <a:gd name="T7" fmla="*/ 913 h 1385"/>
                  <a:gd name="T8" fmla="*/ 93 w 1392"/>
                  <a:gd name="T9" fmla="*/ 820 h 1385"/>
                  <a:gd name="T10" fmla="*/ 144 w 1392"/>
                  <a:gd name="T11" fmla="*/ 820 h 1385"/>
                  <a:gd name="T12" fmla="*/ 144 w 1392"/>
                  <a:gd name="T13" fmla="*/ 764 h 1385"/>
                  <a:gd name="T14" fmla="*/ 237 w 1392"/>
                  <a:gd name="T15" fmla="*/ 670 h 1385"/>
                  <a:gd name="T16" fmla="*/ 612 w 1392"/>
                  <a:gd name="T17" fmla="*/ 670 h 1385"/>
                  <a:gd name="T18" fmla="*/ 705 w 1392"/>
                  <a:gd name="T19" fmla="*/ 764 h 1385"/>
                  <a:gd name="T20" fmla="*/ 705 w 1392"/>
                  <a:gd name="T21" fmla="*/ 1142 h 1385"/>
                  <a:gd name="T22" fmla="*/ 612 w 1392"/>
                  <a:gd name="T23" fmla="*/ 1235 h 1385"/>
                  <a:gd name="T24" fmla="*/ 562 w 1392"/>
                  <a:gd name="T25" fmla="*/ 1235 h 1385"/>
                  <a:gd name="T26" fmla="*/ 562 w 1392"/>
                  <a:gd name="T27" fmla="*/ 1291 h 1385"/>
                  <a:gd name="T28" fmla="*/ 468 w 1392"/>
                  <a:gd name="T29" fmla="*/ 1384 h 1385"/>
                  <a:gd name="T30" fmla="*/ 1298 w 1392"/>
                  <a:gd name="T31" fmla="*/ 1238 h 1385"/>
                  <a:gd name="T32" fmla="*/ 923 w 1392"/>
                  <a:gd name="T33" fmla="*/ 1238 h 1385"/>
                  <a:gd name="T34" fmla="*/ 830 w 1392"/>
                  <a:gd name="T35" fmla="*/ 1145 h 1385"/>
                  <a:gd name="T36" fmla="*/ 830 w 1392"/>
                  <a:gd name="T37" fmla="*/ 766 h 1385"/>
                  <a:gd name="T38" fmla="*/ 923 w 1392"/>
                  <a:gd name="T39" fmla="*/ 673 h 1385"/>
                  <a:gd name="T40" fmla="*/ 1298 w 1392"/>
                  <a:gd name="T41" fmla="*/ 673 h 1385"/>
                  <a:gd name="T42" fmla="*/ 1391 w 1392"/>
                  <a:gd name="T43" fmla="*/ 766 h 1385"/>
                  <a:gd name="T44" fmla="*/ 1391 w 1392"/>
                  <a:gd name="T45" fmla="*/ 1145 h 1385"/>
                  <a:gd name="T46" fmla="*/ 1298 w 1392"/>
                  <a:gd name="T47" fmla="*/ 1238 h 1385"/>
                  <a:gd name="T48" fmla="*/ 601 w 1392"/>
                  <a:gd name="T49" fmla="*/ 1187 h 1385"/>
                  <a:gd name="T50" fmla="*/ 657 w 1392"/>
                  <a:gd name="T51" fmla="*/ 1130 h 1385"/>
                  <a:gd name="T52" fmla="*/ 657 w 1392"/>
                  <a:gd name="T53" fmla="*/ 778 h 1385"/>
                  <a:gd name="T54" fmla="*/ 601 w 1392"/>
                  <a:gd name="T55" fmla="*/ 721 h 1385"/>
                  <a:gd name="T56" fmla="*/ 251 w 1392"/>
                  <a:gd name="T57" fmla="*/ 721 h 1385"/>
                  <a:gd name="T58" fmla="*/ 195 w 1392"/>
                  <a:gd name="T59" fmla="*/ 778 h 1385"/>
                  <a:gd name="T60" fmla="*/ 195 w 1392"/>
                  <a:gd name="T61" fmla="*/ 820 h 1385"/>
                  <a:gd name="T62" fmla="*/ 468 w 1392"/>
                  <a:gd name="T63" fmla="*/ 820 h 1385"/>
                  <a:gd name="T64" fmla="*/ 562 w 1392"/>
                  <a:gd name="T65" fmla="*/ 913 h 1385"/>
                  <a:gd name="T66" fmla="*/ 562 w 1392"/>
                  <a:gd name="T67" fmla="*/ 1184 h 1385"/>
                  <a:gd name="T68" fmla="*/ 601 w 1392"/>
                  <a:gd name="T69" fmla="*/ 1184 h 1385"/>
                  <a:gd name="T70" fmla="*/ 601 w 1392"/>
                  <a:gd name="T71" fmla="*/ 1187 h 1385"/>
                  <a:gd name="T72" fmla="*/ 1298 w 1392"/>
                  <a:gd name="T73" fmla="*/ 563 h 1385"/>
                  <a:gd name="T74" fmla="*/ 923 w 1392"/>
                  <a:gd name="T75" fmla="*/ 563 h 1385"/>
                  <a:gd name="T76" fmla="*/ 830 w 1392"/>
                  <a:gd name="T77" fmla="*/ 470 h 1385"/>
                  <a:gd name="T78" fmla="*/ 830 w 1392"/>
                  <a:gd name="T79" fmla="*/ 92 h 1385"/>
                  <a:gd name="T80" fmla="*/ 923 w 1392"/>
                  <a:gd name="T81" fmla="*/ 0 h 1385"/>
                  <a:gd name="T82" fmla="*/ 1298 w 1392"/>
                  <a:gd name="T83" fmla="*/ 0 h 1385"/>
                  <a:gd name="T84" fmla="*/ 1391 w 1392"/>
                  <a:gd name="T85" fmla="*/ 92 h 1385"/>
                  <a:gd name="T86" fmla="*/ 1391 w 1392"/>
                  <a:gd name="T87" fmla="*/ 470 h 1385"/>
                  <a:gd name="T88" fmla="*/ 1298 w 1392"/>
                  <a:gd name="T89" fmla="*/ 563 h 1385"/>
                  <a:gd name="T90" fmla="*/ 615 w 1392"/>
                  <a:gd name="T91" fmla="*/ 563 h 1385"/>
                  <a:gd name="T92" fmla="*/ 240 w 1392"/>
                  <a:gd name="T93" fmla="*/ 563 h 1385"/>
                  <a:gd name="T94" fmla="*/ 147 w 1392"/>
                  <a:gd name="T95" fmla="*/ 470 h 1385"/>
                  <a:gd name="T96" fmla="*/ 147 w 1392"/>
                  <a:gd name="T97" fmla="*/ 92 h 1385"/>
                  <a:gd name="T98" fmla="*/ 240 w 1392"/>
                  <a:gd name="T99" fmla="*/ 0 h 1385"/>
                  <a:gd name="T100" fmla="*/ 615 w 1392"/>
                  <a:gd name="T101" fmla="*/ 0 h 1385"/>
                  <a:gd name="T102" fmla="*/ 708 w 1392"/>
                  <a:gd name="T103" fmla="*/ 92 h 1385"/>
                  <a:gd name="T104" fmla="*/ 708 w 1392"/>
                  <a:gd name="T105" fmla="*/ 470 h 1385"/>
                  <a:gd name="T106" fmla="*/ 615 w 1392"/>
                  <a:gd name="T107" fmla="*/ 56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92" h="1385">
                    <a:moveTo>
                      <a:pt x="468" y="1384"/>
                    </a:moveTo>
                    <a:lnTo>
                      <a:pt x="93" y="1384"/>
                    </a:lnTo>
                    <a:cubicBezTo>
                      <a:pt x="42" y="1384"/>
                      <a:pt x="0" y="1342"/>
                      <a:pt x="0" y="1291"/>
                    </a:cubicBezTo>
                    <a:lnTo>
                      <a:pt x="0" y="913"/>
                    </a:lnTo>
                    <a:cubicBezTo>
                      <a:pt x="0" y="862"/>
                      <a:pt x="42" y="820"/>
                      <a:pt x="93" y="820"/>
                    </a:cubicBezTo>
                    <a:lnTo>
                      <a:pt x="144" y="820"/>
                    </a:lnTo>
                    <a:lnTo>
                      <a:pt x="144" y="764"/>
                    </a:lnTo>
                    <a:cubicBezTo>
                      <a:pt x="144" y="713"/>
                      <a:pt x="186" y="670"/>
                      <a:pt x="237" y="670"/>
                    </a:cubicBezTo>
                    <a:lnTo>
                      <a:pt x="612" y="670"/>
                    </a:lnTo>
                    <a:cubicBezTo>
                      <a:pt x="663" y="670"/>
                      <a:pt x="705" y="713"/>
                      <a:pt x="705" y="764"/>
                    </a:cubicBezTo>
                    <a:lnTo>
                      <a:pt x="705" y="1142"/>
                    </a:lnTo>
                    <a:cubicBezTo>
                      <a:pt x="705" y="1192"/>
                      <a:pt x="663" y="1235"/>
                      <a:pt x="612" y="1235"/>
                    </a:cubicBezTo>
                    <a:lnTo>
                      <a:pt x="562" y="1235"/>
                    </a:lnTo>
                    <a:lnTo>
                      <a:pt x="562" y="1291"/>
                    </a:lnTo>
                    <a:cubicBezTo>
                      <a:pt x="562" y="1345"/>
                      <a:pt x="519" y="1384"/>
                      <a:pt x="468" y="1384"/>
                    </a:cubicBezTo>
                    <a:close/>
                    <a:moveTo>
                      <a:pt x="1298" y="1238"/>
                    </a:moveTo>
                    <a:lnTo>
                      <a:pt x="923" y="1238"/>
                    </a:lnTo>
                    <a:cubicBezTo>
                      <a:pt x="872" y="1238"/>
                      <a:pt x="830" y="1195"/>
                      <a:pt x="830" y="1145"/>
                    </a:cubicBezTo>
                    <a:lnTo>
                      <a:pt x="830" y="766"/>
                    </a:lnTo>
                    <a:cubicBezTo>
                      <a:pt x="830" y="716"/>
                      <a:pt x="872" y="673"/>
                      <a:pt x="923" y="673"/>
                    </a:cubicBezTo>
                    <a:lnTo>
                      <a:pt x="1298" y="673"/>
                    </a:lnTo>
                    <a:cubicBezTo>
                      <a:pt x="1349" y="673"/>
                      <a:pt x="1391" y="716"/>
                      <a:pt x="1391" y="766"/>
                    </a:cubicBezTo>
                    <a:lnTo>
                      <a:pt x="1391" y="1145"/>
                    </a:lnTo>
                    <a:cubicBezTo>
                      <a:pt x="1391" y="1195"/>
                      <a:pt x="1349" y="1238"/>
                      <a:pt x="1298" y="1238"/>
                    </a:cubicBezTo>
                    <a:close/>
                    <a:moveTo>
                      <a:pt x="601" y="1187"/>
                    </a:moveTo>
                    <a:cubicBezTo>
                      <a:pt x="632" y="1187"/>
                      <a:pt x="657" y="1161"/>
                      <a:pt x="657" y="1130"/>
                    </a:cubicBezTo>
                    <a:lnTo>
                      <a:pt x="657" y="778"/>
                    </a:lnTo>
                    <a:cubicBezTo>
                      <a:pt x="657" y="747"/>
                      <a:pt x="632" y="721"/>
                      <a:pt x="601" y="721"/>
                    </a:cubicBezTo>
                    <a:lnTo>
                      <a:pt x="251" y="721"/>
                    </a:lnTo>
                    <a:cubicBezTo>
                      <a:pt x="220" y="721"/>
                      <a:pt x="195" y="747"/>
                      <a:pt x="195" y="778"/>
                    </a:cubicBezTo>
                    <a:lnTo>
                      <a:pt x="195" y="820"/>
                    </a:lnTo>
                    <a:lnTo>
                      <a:pt x="468" y="820"/>
                    </a:lnTo>
                    <a:cubicBezTo>
                      <a:pt x="519" y="820"/>
                      <a:pt x="562" y="862"/>
                      <a:pt x="562" y="913"/>
                    </a:cubicBezTo>
                    <a:lnTo>
                      <a:pt x="562" y="1184"/>
                    </a:lnTo>
                    <a:lnTo>
                      <a:pt x="601" y="1184"/>
                    </a:lnTo>
                    <a:lnTo>
                      <a:pt x="601" y="1187"/>
                    </a:lnTo>
                    <a:close/>
                    <a:moveTo>
                      <a:pt x="1298" y="563"/>
                    </a:moveTo>
                    <a:lnTo>
                      <a:pt x="923" y="563"/>
                    </a:lnTo>
                    <a:cubicBezTo>
                      <a:pt x="872" y="563"/>
                      <a:pt x="830" y="521"/>
                      <a:pt x="830" y="470"/>
                    </a:cubicBezTo>
                    <a:lnTo>
                      <a:pt x="830" y="92"/>
                    </a:lnTo>
                    <a:cubicBezTo>
                      <a:pt x="830" y="42"/>
                      <a:pt x="872" y="0"/>
                      <a:pt x="923" y="0"/>
                    </a:cubicBezTo>
                    <a:lnTo>
                      <a:pt x="1298" y="0"/>
                    </a:lnTo>
                    <a:cubicBezTo>
                      <a:pt x="1349" y="0"/>
                      <a:pt x="1391" y="42"/>
                      <a:pt x="1391" y="92"/>
                    </a:cubicBezTo>
                    <a:lnTo>
                      <a:pt x="1391" y="470"/>
                    </a:lnTo>
                    <a:cubicBezTo>
                      <a:pt x="1391" y="521"/>
                      <a:pt x="1349" y="563"/>
                      <a:pt x="1298" y="563"/>
                    </a:cubicBezTo>
                    <a:close/>
                    <a:moveTo>
                      <a:pt x="615" y="563"/>
                    </a:moveTo>
                    <a:lnTo>
                      <a:pt x="240" y="563"/>
                    </a:lnTo>
                    <a:cubicBezTo>
                      <a:pt x="189" y="563"/>
                      <a:pt x="147" y="521"/>
                      <a:pt x="147" y="470"/>
                    </a:cubicBezTo>
                    <a:lnTo>
                      <a:pt x="147" y="92"/>
                    </a:lnTo>
                    <a:cubicBezTo>
                      <a:pt x="147" y="42"/>
                      <a:pt x="189" y="0"/>
                      <a:pt x="240" y="0"/>
                    </a:cubicBezTo>
                    <a:lnTo>
                      <a:pt x="615" y="0"/>
                    </a:lnTo>
                    <a:cubicBezTo>
                      <a:pt x="666" y="0"/>
                      <a:pt x="708" y="42"/>
                      <a:pt x="708" y="92"/>
                    </a:cubicBezTo>
                    <a:lnTo>
                      <a:pt x="708" y="470"/>
                    </a:lnTo>
                    <a:cubicBezTo>
                      <a:pt x="708" y="521"/>
                      <a:pt x="666" y="563"/>
                      <a:pt x="615" y="56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41" name="Freeform 7"/>
              <p:cNvSpPr>
                <a:spLocks noChangeArrowheads="1"/>
              </p:cNvSpPr>
              <p:nvPr/>
            </p:nvSpPr>
            <p:spPr bwMode="auto">
              <a:xfrm flipH="1">
                <a:off x="5480254" y="2333082"/>
                <a:ext cx="393192" cy="247664"/>
              </a:xfrm>
              <a:custGeom>
                <a:avLst/>
                <a:gdLst>
                  <a:gd name="T0" fmla="*/ 2015 w 2597"/>
                  <a:gd name="T1" fmla="*/ 432 h 1637"/>
                  <a:gd name="T2" fmla="*/ 1298 w 2597"/>
                  <a:gd name="T3" fmla="*/ 0 h 1637"/>
                  <a:gd name="T4" fmla="*/ 493 w 2597"/>
                  <a:gd name="T5" fmla="*/ 703 h 1637"/>
                  <a:gd name="T6" fmla="*/ 0 w 2597"/>
                  <a:gd name="T7" fmla="*/ 1163 h 1637"/>
                  <a:gd name="T8" fmla="*/ 564 w 2597"/>
                  <a:gd name="T9" fmla="*/ 1636 h 1637"/>
                  <a:gd name="T10" fmla="*/ 564 w 2597"/>
                  <a:gd name="T11" fmla="*/ 1298 h 1637"/>
                  <a:gd name="T12" fmla="*/ 733 w 2597"/>
                  <a:gd name="T13" fmla="*/ 1129 h 1637"/>
                  <a:gd name="T14" fmla="*/ 1862 w 2597"/>
                  <a:gd name="T15" fmla="*/ 1129 h 1637"/>
                  <a:gd name="T16" fmla="*/ 2031 w 2597"/>
                  <a:gd name="T17" fmla="*/ 1298 h 1637"/>
                  <a:gd name="T18" fmla="*/ 2031 w 2597"/>
                  <a:gd name="T19" fmla="*/ 1636 h 1637"/>
                  <a:gd name="T20" fmla="*/ 2596 w 2597"/>
                  <a:gd name="T21" fmla="*/ 1027 h 1637"/>
                  <a:gd name="T22" fmla="*/ 2015 w 2597"/>
                  <a:gd name="T23" fmla="*/ 432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7" h="1637">
                    <a:moveTo>
                      <a:pt x="2015" y="432"/>
                    </a:moveTo>
                    <a:cubicBezTo>
                      <a:pt x="1873" y="167"/>
                      <a:pt x="1597" y="0"/>
                      <a:pt x="1298" y="0"/>
                    </a:cubicBezTo>
                    <a:cubicBezTo>
                      <a:pt x="889" y="0"/>
                      <a:pt x="547" y="305"/>
                      <a:pt x="493" y="703"/>
                    </a:cubicBezTo>
                    <a:cubicBezTo>
                      <a:pt x="225" y="683"/>
                      <a:pt x="0" y="898"/>
                      <a:pt x="0" y="1163"/>
                    </a:cubicBezTo>
                    <a:cubicBezTo>
                      <a:pt x="0" y="1433"/>
                      <a:pt x="175" y="1636"/>
                      <a:pt x="564" y="1636"/>
                    </a:cubicBezTo>
                    <a:lnTo>
                      <a:pt x="564" y="1298"/>
                    </a:lnTo>
                    <a:cubicBezTo>
                      <a:pt x="564" y="1205"/>
                      <a:pt x="640" y="1129"/>
                      <a:pt x="733" y="1129"/>
                    </a:cubicBezTo>
                    <a:lnTo>
                      <a:pt x="1862" y="1129"/>
                    </a:lnTo>
                    <a:cubicBezTo>
                      <a:pt x="1955" y="1129"/>
                      <a:pt x="2031" y="1205"/>
                      <a:pt x="2031" y="1298"/>
                    </a:cubicBezTo>
                    <a:lnTo>
                      <a:pt x="2031" y="1636"/>
                    </a:lnTo>
                    <a:cubicBezTo>
                      <a:pt x="2158" y="1636"/>
                      <a:pt x="2596" y="1492"/>
                      <a:pt x="2596" y="1027"/>
                    </a:cubicBezTo>
                    <a:cubicBezTo>
                      <a:pt x="2596" y="706"/>
                      <a:pt x="2336" y="440"/>
                      <a:pt x="2015" y="432"/>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grpSp>
        <p:nvGrpSpPr>
          <p:cNvPr id="42" name="Group 41"/>
          <p:cNvGrpSpPr/>
          <p:nvPr/>
        </p:nvGrpSpPr>
        <p:grpSpPr>
          <a:xfrm>
            <a:off x="2964094" y="3873621"/>
            <a:ext cx="689376" cy="689376"/>
            <a:chOff x="3048636" y="3836913"/>
            <a:chExt cx="689376" cy="689376"/>
          </a:xfrm>
        </p:grpSpPr>
        <p:sp>
          <p:nvSpPr>
            <p:cNvPr id="43" name="Oval 42"/>
            <p:cNvSpPr/>
            <p:nvPr/>
          </p:nvSpPr>
          <p:spPr>
            <a:xfrm>
              <a:off x="3048636" y="3836913"/>
              <a:ext cx="689376" cy="689376"/>
            </a:xfrm>
            <a:prstGeom prst="ellipse">
              <a:avLst/>
            </a:prstGeom>
            <a:solidFill>
              <a:srgbClr val="049FD9"/>
            </a:solidFill>
            <a:ln w="2540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nvGrpSpPr>
            <p:cNvPr id="44" name="Group 43"/>
            <p:cNvGrpSpPr/>
            <p:nvPr/>
          </p:nvGrpSpPr>
          <p:grpSpPr>
            <a:xfrm>
              <a:off x="3183183" y="4024080"/>
              <a:ext cx="420282" cy="315042"/>
              <a:chOff x="2665413" y="3467100"/>
              <a:chExt cx="976312" cy="731838"/>
            </a:xfrm>
            <a:solidFill>
              <a:srgbClr val="FFFFFF"/>
            </a:solidFill>
          </p:grpSpPr>
          <p:sp>
            <p:nvSpPr>
              <p:cNvPr id="45" name="Freeform 44"/>
              <p:cNvSpPr>
                <a:spLocks noChangeArrowheads="1"/>
              </p:cNvSpPr>
              <p:nvPr/>
            </p:nvSpPr>
            <p:spPr bwMode="auto">
              <a:xfrm>
                <a:off x="2705100" y="3467100"/>
                <a:ext cx="895350" cy="569913"/>
              </a:xfrm>
              <a:custGeom>
                <a:avLst/>
                <a:gdLst>
                  <a:gd name="T0" fmla="*/ 57 w 2485"/>
                  <a:gd name="T1" fmla="*/ 1580 h 1581"/>
                  <a:gd name="T2" fmla="*/ 0 w 2485"/>
                  <a:gd name="T3" fmla="*/ 1524 h 1581"/>
                  <a:gd name="T4" fmla="*/ 0 w 2485"/>
                  <a:gd name="T5" fmla="*/ 226 h 1581"/>
                  <a:gd name="T6" fmla="*/ 226 w 2485"/>
                  <a:gd name="T7" fmla="*/ 0 h 1581"/>
                  <a:gd name="T8" fmla="*/ 2258 w 2485"/>
                  <a:gd name="T9" fmla="*/ 0 h 1581"/>
                  <a:gd name="T10" fmla="*/ 2484 w 2485"/>
                  <a:gd name="T11" fmla="*/ 226 h 1581"/>
                  <a:gd name="T12" fmla="*/ 2484 w 2485"/>
                  <a:gd name="T13" fmla="*/ 1524 h 1581"/>
                  <a:gd name="T14" fmla="*/ 2427 w 2485"/>
                  <a:gd name="T15" fmla="*/ 1580 h 1581"/>
                  <a:gd name="T16" fmla="*/ 57 w 2485"/>
                  <a:gd name="T17" fmla="*/ 1580 h 1581"/>
                  <a:gd name="T18" fmla="*/ 226 w 2485"/>
                  <a:gd name="T19" fmla="*/ 226 h 1581"/>
                  <a:gd name="T20" fmla="*/ 226 w 2485"/>
                  <a:gd name="T21" fmla="*/ 1354 h 1581"/>
                  <a:gd name="T22" fmla="*/ 2258 w 2485"/>
                  <a:gd name="T23" fmla="*/ 1354 h 1581"/>
                  <a:gd name="T24" fmla="*/ 2258 w 2485"/>
                  <a:gd name="T25" fmla="*/ 226 h 1581"/>
                  <a:gd name="T26" fmla="*/ 226 w 2485"/>
                  <a:gd name="T27" fmla="*/ 226 h 1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5" h="1581">
                    <a:moveTo>
                      <a:pt x="57" y="1580"/>
                    </a:moveTo>
                    <a:cubicBezTo>
                      <a:pt x="26" y="1580"/>
                      <a:pt x="0" y="1555"/>
                      <a:pt x="0" y="1524"/>
                    </a:cubicBezTo>
                    <a:lnTo>
                      <a:pt x="0" y="226"/>
                    </a:lnTo>
                    <a:cubicBezTo>
                      <a:pt x="0" y="101"/>
                      <a:pt x="102" y="0"/>
                      <a:pt x="226" y="0"/>
                    </a:cubicBezTo>
                    <a:lnTo>
                      <a:pt x="2258" y="0"/>
                    </a:lnTo>
                    <a:cubicBezTo>
                      <a:pt x="2382" y="0"/>
                      <a:pt x="2484" y="101"/>
                      <a:pt x="2484" y="226"/>
                    </a:cubicBezTo>
                    <a:lnTo>
                      <a:pt x="2484" y="1524"/>
                    </a:lnTo>
                    <a:cubicBezTo>
                      <a:pt x="2484" y="1555"/>
                      <a:pt x="2458" y="1580"/>
                      <a:pt x="2427" y="1580"/>
                    </a:cubicBezTo>
                    <a:lnTo>
                      <a:pt x="57" y="1580"/>
                    </a:lnTo>
                    <a:close/>
                    <a:moveTo>
                      <a:pt x="226" y="226"/>
                    </a:moveTo>
                    <a:lnTo>
                      <a:pt x="226" y="1354"/>
                    </a:lnTo>
                    <a:lnTo>
                      <a:pt x="2258" y="1354"/>
                    </a:lnTo>
                    <a:lnTo>
                      <a:pt x="2258" y="226"/>
                    </a:lnTo>
                    <a:lnTo>
                      <a:pt x="226" y="226"/>
                    </a:ln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46" name="Freeform 45"/>
              <p:cNvSpPr>
                <a:spLocks noChangeArrowheads="1"/>
              </p:cNvSpPr>
              <p:nvPr/>
            </p:nvSpPr>
            <p:spPr bwMode="auto">
              <a:xfrm>
                <a:off x="2665413" y="4076700"/>
                <a:ext cx="976312" cy="122238"/>
              </a:xfrm>
              <a:custGeom>
                <a:avLst/>
                <a:gdLst>
                  <a:gd name="T0" fmla="*/ 2653 w 2711"/>
                  <a:gd name="T1" fmla="*/ 0 h 340"/>
                  <a:gd name="T2" fmla="*/ 2710 w 2711"/>
                  <a:gd name="T3" fmla="*/ 57 h 340"/>
                  <a:gd name="T4" fmla="*/ 2710 w 2711"/>
                  <a:gd name="T5" fmla="*/ 169 h 340"/>
                  <a:gd name="T6" fmla="*/ 2540 w 2711"/>
                  <a:gd name="T7" fmla="*/ 339 h 340"/>
                  <a:gd name="T8" fmla="*/ 170 w 2711"/>
                  <a:gd name="T9" fmla="*/ 339 h 340"/>
                  <a:gd name="T10" fmla="*/ 0 w 2711"/>
                  <a:gd name="T11" fmla="*/ 169 h 340"/>
                  <a:gd name="T12" fmla="*/ 0 w 2711"/>
                  <a:gd name="T13" fmla="*/ 57 h 340"/>
                  <a:gd name="T14" fmla="*/ 57 w 2711"/>
                  <a:gd name="T15" fmla="*/ 0 h 340"/>
                  <a:gd name="T16" fmla="*/ 1073 w 2711"/>
                  <a:gd name="T17" fmla="*/ 0 h 340"/>
                  <a:gd name="T18" fmla="*/ 1129 w 2711"/>
                  <a:gd name="T19" fmla="*/ 57 h 340"/>
                  <a:gd name="T20" fmla="*/ 1129 w 2711"/>
                  <a:gd name="T21" fmla="*/ 113 h 340"/>
                  <a:gd name="T22" fmla="*/ 1581 w 2711"/>
                  <a:gd name="T23" fmla="*/ 113 h 340"/>
                  <a:gd name="T24" fmla="*/ 1581 w 2711"/>
                  <a:gd name="T25" fmla="*/ 57 h 340"/>
                  <a:gd name="T26" fmla="*/ 1637 w 2711"/>
                  <a:gd name="T27" fmla="*/ 0 h 340"/>
                  <a:gd name="T28" fmla="*/ 2653 w 2711"/>
                  <a:gd name="T2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11" h="340">
                    <a:moveTo>
                      <a:pt x="2653" y="0"/>
                    </a:moveTo>
                    <a:cubicBezTo>
                      <a:pt x="2684" y="0"/>
                      <a:pt x="2710" y="26"/>
                      <a:pt x="2710" y="57"/>
                    </a:cubicBezTo>
                    <a:lnTo>
                      <a:pt x="2710" y="169"/>
                    </a:lnTo>
                    <a:cubicBezTo>
                      <a:pt x="2710" y="263"/>
                      <a:pt x="2633" y="339"/>
                      <a:pt x="2540" y="339"/>
                    </a:cubicBezTo>
                    <a:lnTo>
                      <a:pt x="170" y="339"/>
                    </a:lnTo>
                    <a:cubicBezTo>
                      <a:pt x="77" y="339"/>
                      <a:pt x="0" y="263"/>
                      <a:pt x="0" y="169"/>
                    </a:cubicBezTo>
                    <a:lnTo>
                      <a:pt x="0" y="57"/>
                    </a:lnTo>
                    <a:cubicBezTo>
                      <a:pt x="0" y="26"/>
                      <a:pt x="26" y="0"/>
                      <a:pt x="57" y="0"/>
                    </a:cubicBezTo>
                    <a:lnTo>
                      <a:pt x="1073" y="0"/>
                    </a:lnTo>
                    <a:cubicBezTo>
                      <a:pt x="1104" y="0"/>
                      <a:pt x="1129" y="26"/>
                      <a:pt x="1129" y="57"/>
                    </a:cubicBezTo>
                    <a:lnTo>
                      <a:pt x="1129" y="113"/>
                    </a:lnTo>
                    <a:lnTo>
                      <a:pt x="1581" y="113"/>
                    </a:lnTo>
                    <a:lnTo>
                      <a:pt x="1581" y="57"/>
                    </a:lnTo>
                    <a:cubicBezTo>
                      <a:pt x="1581" y="26"/>
                      <a:pt x="1606" y="0"/>
                      <a:pt x="1637" y="0"/>
                    </a:cubicBezTo>
                    <a:lnTo>
                      <a:pt x="2653" y="0"/>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grpSp>
        <p:nvGrpSpPr>
          <p:cNvPr id="47" name="Group 46"/>
          <p:cNvGrpSpPr/>
          <p:nvPr/>
        </p:nvGrpSpPr>
        <p:grpSpPr>
          <a:xfrm>
            <a:off x="2271830" y="1610315"/>
            <a:ext cx="689376" cy="689376"/>
            <a:chOff x="2271830" y="1610315"/>
            <a:chExt cx="689376" cy="689376"/>
          </a:xfrm>
        </p:grpSpPr>
        <p:sp>
          <p:nvSpPr>
            <p:cNvPr id="48" name="Oval 47"/>
            <p:cNvSpPr/>
            <p:nvPr/>
          </p:nvSpPr>
          <p:spPr>
            <a:xfrm>
              <a:off x="2271830" y="1610315"/>
              <a:ext cx="689376" cy="689376"/>
            </a:xfrm>
            <a:prstGeom prst="ellipse">
              <a:avLst/>
            </a:prstGeom>
            <a:solidFill>
              <a:srgbClr val="049FD9"/>
            </a:solidFill>
            <a:ln w="2540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nvGrpSpPr>
            <p:cNvPr id="49" name="Group 48"/>
            <p:cNvGrpSpPr/>
            <p:nvPr/>
          </p:nvGrpSpPr>
          <p:grpSpPr>
            <a:xfrm>
              <a:off x="2420440" y="1756442"/>
              <a:ext cx="392309" cy="373291"/>
              <a:chOff x="2420440" y="1756442"/>
              <a:chExt cx="392309" cy="373291"/>
            </a:xfrm>
          </p:grpSpPr>
          <p:sp>
            <p:nvSpPr>
              <p:cNvPr id="50" name="Freeform 49"/>
              <p:cNvSpPr/>
              <p:nvPr/>
            </p:nvSpPr>
            <p:spPr>
              <a:xfrm>
                <a:off x="2420440" y="1756442"/>
                <a:ext cx="392309" cy="244629"/>
              </a:xfrm>
              <a:custGeom>
                <a:avLst/>
                <a:gdLst>
                  <a:gd name="connsiteX0" fmla="*/ 196155 w 392309"/>
                  <a:gd name="connsiteY0" fmla="*/ 0 h 244629"/>
                  <a:gd name="connsiteX1" fmla="*/ 317807 w 392309"/>
                  <a:gd name="connsiteY1" fmla="*/ 106160 h 244629"/>
                  <a:gd name="connsiteX2" fmla="*/ 392309 w 392309"/>
                  <a:gd name="connsiteY2" fmla="*/ 175624 h 244629"/>
                  <a:gd name="connsiteX3" fmla="*/ 345195 w 392309"/>
                  <a:gd name="connsiteY3" fmla="*/ 241625 h 244629"/>
                  <a:gd name="connsiteX4" fmla="*/ 324095 w 392309"/>
                  <a:gd name="connsiteY4" fmla="*/ 244629 h 244629"/>
                  <a:gd name="connsiteX5" fmla="*/ 324095 w 392309"/>
                  <a:gd name="connsiteY5" fmla="*/ 184832 h 244629"/>
                  <a:gd name="connsiteX6" fmla="*/ 309484 w 392309"/>
                  <a:gd name="connsiteY6" fmla="*/ 170221 h 244629"/>
                  <a:gd name="connsiteX7" fmla="*/ 82674 w 392309"/>
                  <a:gd name="connsiteY7" fmla="*/ 170221 h 244629"/>
                  <a:gd name="connsiteX8" fmla="*/ 68063 w 392309"/>
                  <a:gd name="connsiteY8" fmla="*/ 184832 h 244629"/>
                  <a:gd name="connsiteX9" fmla="*/ 68063 w 392309"/>
                  <a:gd name="connsiteY9" fmla="*/ 243421 h 244629"/>
                  <a:gd name="connsiteX10" fmla="*/ 63945 w 392309"/>
                  <a:gd name="connsiteY10" fmla="*/ 242557 h 244629"/>
                  <a:gd name="connsiteX11" fmla="*/ 0 w 392309"/>
                  <a:gd name="connsiteY11" fmla="*/ 155087 h 244629"/>
                  <a:gd name="connsiteX12" fmla="*/ 87801 w 392309"/>
                  <a:gd name="connsiteY12" fmla="*/ 65236 h 244629"/>
                  <a:gd name="connsiteX13" fmla="*/ 196155 w 392309"/>
                  <a:gd name="connsiteY13" fmla="*/ 0 h 24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309" h="244629">
                    <a:moveTo>
                      <a:pt x="196155" y="0"/>
                    </a:moveTo>
                    <a:cubicBezTo>
                      <a:pt x="257963" y="0"/>
                      <a:pt x="309646" y="46058"/>
                      <a:pt x="317807" y="106160"/>
                    </a:cubicBezTo>
                    <a:cubicBezTo>
                      <a:pt x="358307" y="103140"/>
                      <a:pt x="392309" y="135607"/>
                      <a:pt x="392309" y="175624"/>
                    </a:cubicBezTo>
                    <a:cubicBezTo>
                      <a:pt x="392309" y="206204"/>
                      <a:pt x="377433" y="231092"/>
                      <a:pt x="345195" y="241625"/>
                    </a:cubicBezTo>
                    <a:lnTo>
                      <a:pt x="324095" y="244629"/>
                    </a:lnTo>
                    <a:lnTo>
                      <a:pt x="324095" y="184832"/>
                    </a:lnTo>
                    <a:cubicBezTo>
                      <a:pt x="324095" y="176763"/>
                      <a:pt x="317553" y="170221"/>
                      <a:pt x="309484" y="170221"/>
                    </a:cubicBezTo>
                    <a:lnTo>
                      <a:pt x="82674" y="170221"/>
                    </a:lnTo>
                    <a:cubicBezTo>
                      <a:pt x="74605" y="170221"/>
                      <a:pt x="68063" y="176763"/>
                      <a:pt x="68063" y="184832"/>
                    </a:cubicBezTo>
                    <a:lnTo>
                      <a:pt x="68063" y="243421"/>
                    </a:lnTo>
                    <a:lnTo>
                      <a:pt x="63945" y="242557"/>
                    </a:lnTo>
                    <a:cubicBezTo>
                      <a:pt x="37232" y="233150"/>
                      <a:pt x="0" y="207752"/>
                      <a:pt x="0" y="155087"/>
                    </a:cubicBezTo>
                    <a:cubicBezTo>
                      <a:pt x="0" y="106613"/>
                      <a:pt x="39292" y="66444"/>
                      <a:pt x="87801" y="65236"/>
                    </a:cubicBezTo>
                    <a:cubicBezTo>
                      <a:pt x="109260" y="25219"/>
                      <a:pt x="150970" y="0"/>
                      <a:pt x="196155" y="0"/>
                    </a:cubicBezTo>
                    <a:close/>
                  </a:path>
                </a:pathLst>
              </a:custGeom>
              <a:solidFill>
                <a:srgbClr val="FFFFFF"/>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nvGrpSpPr>
              <p:cNvPr id="51" name="Group 50"/>
              <p:cNvGrpSpPr/>
              <p:nvPr/>
            </p:nvGrpSpPr>
            <p:grpSpPr>
              <a:xfrm>
                <a:off x="2504234" y="1944343"/>
                <a:ext cx="224567" cy="185390"/>
                <a:chOff x="1140587" y="2618849"/>
                <a:chExt cx="997458" cy="823450"/>
              </a:xfrm>
              <a:solidFill>
                <a:srgbClr val="FFFFFF"/>
              </a:solidFill>
            </p:grpSpPr>
            <p:sp>
              <p:nvSpPr>
                <p:cNvPr id="52" name="Freeform 51"/>
                <p:cNvSpPr/>
                <p:nvPr/>
              </p:nvSpPr>
              <p:spPr>
                <a:xfrm flipV="1">
                  <a:off x="1140587" y="2618849"/>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3" name="Freeform 52"/>
                <p:cNvSpPr/>
                <p:nvPr/>
              </p:nvSpPr>
              <p:spPr>
                <a:xfrm flipV="1">
                  <a:off x="1140587" y="2905661"/>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4" name="Freeform 53"/>
                <p:cNvSpPr/>
                <p:nvPr/>
              </p:nvSpPr>
              <p:spPr>
                <a:xfrm flipV="1">
                  <a:off x="1140587" y="3192477"/>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grpSp>
      <p:sp>
        <p:nvSpPr>
          <p:cNvPr id="55" name="Oval 54"/>
          <p:cNvSpPr/>
          <p:nvPr/>
        </p:nvSpPr>
        <p:spPr>
          <a:xfrm>
            <a:off x="5490531" y="3873621"/>
            <a:ext cx="689376" cy="689376"/>
          </a:xfrm>
          <a:prstGeom prst="ellipse">
            <a:avLst/>
          </a:prstGeom>
          <a:solidFill>
            <a:srgbClr val="049FD9"/>
          </a:solidFill>
          <a:ln w="2540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nvGrpSpPr>
          <p:cNvPr id="56" name="Group 55"/>
          <p:cNvGrpSpPr/>
          <p:nvPr/>
        </p:nvGrpSpPr>
        <p:grpSpPr>
          <a:xfrm>
            <a:off x="4002728" y="221046"/>
            <a:ext cx="1138545" cy="655147"/>
            <a:chOff x="4002728" y="288027"/>
            <a:chExt cx="1138545" cy="655147"/>
          </a:xfrm>
        </p:grpSpPr>
        <p:sp>
          <p:nvSpPr>
            <p:cNvPr id="57" name="Freeform 56"/>
            <p:cNvSpPr/>
            <p:nvPr/>
          </p:nvSpPr>
          <p:spPr>
            <a:xfrm>
              <a:off x="4975142" y="617102"/>
              <a:ext cx="166131" cy="325960"/>
            </a:xfrm>
            <a:custGeom>
              <a:avLst/>
              <a:gdLst>
                <a:gd name="connsiteX0" fmla="*/ 255399 w 753500"/>
                <a:gd name="connsiteY0" fmla="*/ 0 h 1317490"/>
                <a:gd name="connsiteX1" fmla="*/ 343283 w 753500"/>
                <a:gd name="connsiteY1" fmla="*/ 27288 h 1317490"/>
                <a:gd name="connsiteX2" fmla="*/ 753500 w 753500"/>
                <a:gd name="connsiteY2" fmla="*/ 646005 h 1317490"/>
                <a:gd name="connsiteX3" fmla="*/ 82018 w 753500"/>
                <a:gd name="connsiteY3" fmla="*/ 1317490 h 1317490"/>
                <a:gd name="connsiteX4" fmla="*/ 0 w 753500"/>
                <a:gd name="connsiteY4" fmla="*/ 652409 h 1317490"/>
                <a:gd name="connsiteX5" fmla="*/ 255399 w 753500"/>
                <a:gd name="connsiteY5" fmla="*/ 652409 h 1317490"/>
                <a:gd name="connsiteX6" fmla="*/ 255399 w 753500"/>
                <a:gd name="connsiteY6" fmla="*/ 0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6" fmla="*/ 346839 w 753500"/>
                <a:gd name="connsiteY6" fmla="*/ 743849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0" fmla="*/ 173381 w 671482"/>
                <a:gd name="connsiteY0" fmla="*/ 652409 h 1317490"/>
                <a:gd name="connsiteX1" fmla="*/ 173381 w 671482"/>
                <a:gd name="connsiteY1" fmla="*/ 0 h 1317490"/>
                <a:gd name="connsiteX2" fmla="*/ 261265 w 671482"/>
                <a:gd name="connsiteY2" fmla="*/ 27288 h 1317490"/>
                <a:gd name="connsiteX3" fmla="*/ 671482 w 671482"/>
                <a:gd name="connsiteY3" fmla="*/ 646005 h 1317490"/>
                <a:gd name="connsiteX4" fmla="*/ 0 w 671482"/>
                <a:gd name="connsiteY4" fmla="*/ 1317490 h 1317490"/>
                <a:gd name="connsiteX0" fmla="*/ 173381 w 671482"/>
                <a:gd name="connsiteY0" fmla="*/ 0 h 1317490"/>
                <a:gd name="connsiteX1" fmla="*/ 261265 w 671482"/>
                <a:gd name="connsiteY1" fmla="*/ 27288 h 1317490"/>
                <a:gd name="connsiteX2" fmla="*/ 671482 w 671482"/>
                <a:gd name="connsiteY2" fmla="*/ 646005 h 1317490"/>
                <a:gd name="connsiteX3" fmla="*/ 0 w 671482"/>
                <a:gd name="connsiteY3" fmla="*/ 1317490 h 1317490"/>
              </a:gdLst>
              <a:ahLst/>
              <a:cxnLst>
                <a:cxn ang="0">
                  <a:pos x="connsiteX0" y="connsiteY0"/>
                </a:cxn>
                <a:cxn ang="0">
                  <a:pos x="connsiteX1" y="connsiteY1"/>
                </a:cxn>
                <a:cxn ang="0">
                  <a:pos x="connsiteX2" y="connsiteY2"/>
                </a:cxn>
                <a:cxn ang="0">
                  <a:pos x="connsiteX3" y="connsiteY3"/>
                </a:cxn>
              </a:cxnLst>
              <a:rect l="l" t="t" r="r" b="b"/>
              <a:pathLst>
                <a:path w="671482" h="1317490">
                  <a:moveTo>
                    <a:pt x="173381" y="0"/>
                  </a:moveTo>
                  <a:lnTo>
                    <a:pt x="261265" y="27288"/>
                  </a:lnTo>
                  <a:cubicBezTo>
                    <a:pt x="502234" y="129226"/>
                    <a:pt x="671482" y="367869"/>
                    <a:pt x="671482" y="646005"/>
                  </a:cubicBezTo>
                  <a:cubicBezTo>
                    <a:pt x="671482" y="1016852"/>
                    <a:pt x="370597" y="1317490"/>
                    <a:pt x="0" y="1317490"/>
                  </a:cubicBezTo>
                </a:path>
              </a:pathLst>
            </a:custGeom>
            <a:noFill/>
            <a:ln w="25400" cap="rnd" cmpd="sng" algn="ctr">
              <a:solidFill>
                <a:schemeClr val="tx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8" name="Freeform 57"/>
            <p:cNvSpPr/>
            <p:nvPr/>
          </p:nvSpPr>
          <p:spPr>
            <a:xfrm>
              <a:off x="4002728" y="620962"/>
              <a:ext cx="166131" cy="322101"/>
            </a:xfrm>
            <a:custGeom>
              <a:avLst/>
              <a:gdLst>
                <a:gd name="connsiteX0" fmla="*/ 447870 w 877763"/>
                <a:gd name="connsiteY0" fmla="*/ 0 h 1301893"/>
                <a:gd name="connsiteX1" fmla="*/ 447870 w 877763"/>
                <a:gd name="connsiteY1" fmla="*/ 344644 h 1301893"/>
                <a:gd name="connsiteX2" fmla="*/ 877763 w 877763"/>
                <a:gd name="connsiteY2" fmla="*/ 344644 h 1301893"/>
                <a:gd name="connsiteX3" fmla="*/ 671482 w 877763"/>
                <a:gd name="connsiteY3" fmla="*/ 1301893 h 1301893"/>
                <a:gd name="connsiteX4" fmla="*/ 0 w 877763"/>
                <a:gd name="connsiteY4" fmla="*/ 630408 h 1301893"/>
                <a:gd name="connsiteX5" fmla="*/ 410217 w 877763"/>
                <a:gd name="connsiteY5" fmla="*/ 11691 h 1301893"/>
                <a:gd name="connsiteX6" fmla="*/ 447870 w 877763"/>
                <a:gd name="connsiteY6" fmla="*/ 0 h 1301893"/>
                <a:gd name="connsiteX0" fmla="*/ 877763 w 969203"/>
                <a:gd name="connsiteY0" fmla="*/ 344644 h 1301893"/>
                <a:gd name="connsiteX1" fmla="*/ 671482 w 969203"/>
                <a:gd name="connsiteY1" fmla="*/ 1301893 h 1301893"/>
                <a:gd name="connsiteX2" fmla="*/ 0 w 969203"/>
                <a:gd name="connsiteY2" fmla="*/ 630408 h 1301893"/>
                <a:gd name="connsiteX3" fmla="*/ 410217 w 969203"/>
                <a:gd name="connsiteY3" fmla="*/ 11691 h 1301893"/>
                <a:gd name="connsiteX4" fmla="*/ 447870 w 969203"/>
                <a:gd name="connsiteY4" fmla="*/ 0 h 1301893"/>
                <a:gd name="connsiteX5" fmla="*/ 447870 w 969203"/>
                <a:gd name="connsiteY5" fmla="*/ 344644 h 1301893"/>
                <a:gd name="connsiteX6" fmla="*/ 969203 w 969203"/>
                <a:gd name="connsiteY6" fmla="*/ 436084 h 1301893"/>
                <a:gd name="connsiteX0" fmla="*/ 877763 w 877763"/>
                <a:gd name="connsiteY0" fmla="*/ 344644 h 1301893"/>
                <a:gd name="connsiteX1" fmla="*/ 671482 w 877763"/>
                <a:gd name="connsiteY1" fmla="*/ 1301893 h 1301893"/>
                <a:gd name="connsiteX2" fmla="*/ 0 w 877763"/>
                <a:gd name="connsiteY2" fmla="*/ 630408 h 1301893"/>
                <a:gd name="connsiteX3" fmla="*/ 410217 w 877763"/>
                <a:gd name="connsiteY3" fmla="*/ 11691 h 1301893"/>
                <a:gd name="connsiteX4" fmla="*/ 447870 w 877763"/>
                <a:gd name="connsiteY4" fmla="*/ 0 h 1301893"/>
                <a:gd name="connsiteX5" fmla="*/ 447870 w 877763"/>
                <a:gd name="connsiteY5"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 name="connsiteX4" fmla="*/ 447870 w 671482"/>
                <a:gd name="connsiteY4"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Lst>
              <a:ahLst/>
              <a:cxnLst>
                <a:cxn ang="0">
                  <a:pos x="connsiteX0" y="connsiteY0"/>
                </a:cxn>
                <a:cxn ang="0">
                  <a:pos x="connsiteX1" y="connsiteY1"/>
                </a:cxn>
                <a:cxn ang="0">
                  <a:pos x="connsiteX2" y="connsiteY2"/>
                </a:cxn>
                <a:cxn ang="0">
                  <a:pos x="connsiteX3" y="connsiteY3"/>
                </a:cxn>
              </a:cxnLst>
              <a:rect l="l" t="t" r="r" b="b"/>
              <a:pathLst>
                <a:path w="671482" h="1301893">
                  <a:moveTo>
                    <a:pt x="671482" y="1301893"/>
                  </a:moveTo>
                  <a:cubicBezTo>
                    <a:pt x="300885" y="1301893"/>
                    <a:pt x="0" y="1001255"/>
                    <a:pt x="0" y="630408"/>
                  </a:cubicBezTo>
                  <a:cubicBezTo>
                    <a:pt x="0" y="352272"/>
                    <a:pt x="169248" y="113629"/>
                    <a:pt x="410217" y="11691"/>
                  </a:cubicBezTo>
                  <a:lnTo>
                    <a:pt x="447870" y="0"/>
                  </a:lnTo>
                </a:path>
              </a:pathLst>
            </a:custGeom>
            <a:noFill/>
            <a:ln w="25400" cap="rnd" cmpd="sng" algn="ctr">
              <a:solidFill>
                <a:schemeClr val="tx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59" name="Line 103"/>
            <p:cNvSpPr>
              <a:spLocks noChangeShapeType="1"/>
            </p:cNvSpPr>
            <p:nvPr/>
          </p:nvSpPr>
          <p:spPr bwMode="auto">
            <a:xfrm flipH="1">
              <a:off x="4161194" y="943174"/>
              <a:ext cx="831792"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60" name="Freeform 59"/>
            <p:cNvSpPr/>
            <p:nvPr/>
          </p:nvSpPr>
          <p:spPr>
            <a:xfrm>
              <a:off x="4129525" y="288027"/>
              <a:ext cx="608496" cy="361769"/>
            </a:xfrm>
            <a:custGeom>
              <a:avLst/>
              <a:gdLst>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498149 h 1346105"/>
                <a:gd name="connsiteX4" fmla="*/ 509341 w 2264147"/>
                <a:gd name="connsiteY4" fmla="*/ 1346105 h 1346105"/>
                <a:gd name="connsiteX5" fmla="*/ 4273 w 2264147"/>
                <a:gd name="connsiteY5" fmla="*/ 1346105 h 1346105"/>
                <a:gd name="connsiteX6" fmla="*/ 0 w 2264147"/>
                <a:gd name="connsiteY6" fmla="*/ 1261492 h 1346105"/>
                <a:gd name="connsiteX7" fmla="*/ 1261492 w 2264147"/>
                <a:gd name="connsiteY7" fmla="*/ 0 h 1346105"/>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1346105 h 1346105"/>
                <a:gd name="connsiteX4" fmla="*/ 4273 w 2264147"/>
                <a:gd name="connsiteY4" fmla="*/ 1346105 h 1346105"/>
                <a:gd name="connsiteX5" fmla="*/ 0 w 2264147"/>
                <a:gd name="connsiteY5" fmla="*/ 1261492 h 1346105"/>
                <a:gd name="connsiteX6" fmla="*/ 1261492 w 2264147"/>
                <a:gd name="connsiteY6" fmla="*/ 0 h 1346105"/>
                <a:gd name="connsiteX0" fmla="*/ 509341 w 2264147"/>
                <a:gd name="connsiteY0" fmla="*/ 1346105 h 1437545"/>
                <a:gd name="connsiteX1" fmla="*/ 4273 w 2264147"/>
                <a:gd name="connsiteY1" fmla="*/ 1346105 h 1437545"/>
                <a:gd name="connsiteX2" fmla="*/ 0 w 2264147"/>
                <a:gd name="connsiteY2" fmla="*/ 1261492 h 1437545"/>
                <a:gd name="connsiteX3" fmla="*/ 1261492 w 2264147"/>
                <a:gd name="connsiteY3" fmla="*/ 0 h 1437545"/>
                <a:gd name="connsiteX4" fmla="*/ 2234921 w 2264147"/>
                <a:gd name="connsiteY4" fmla="*/ 459066 h 1437545"/>
                <a:gd name="connsiteX5" fmla="*/ 2264147 w 2264147"/>
                <a:gd name="connsiteY5" fmla="*/ 498149 h 1437545"/>
                <a:gd name="connsiteX6" fmla="*/ 600781 w 2264147"/>
                <a:gd name="connsiteY6" fmla="*/ 1437545 h 1437545"/>
                <a:gd name="connsiteX0" fmla="*/ 509341 w 2264147"/>
                <a:gd name="connsiteY0" fmla="*/ 1346105 h 1346105"/>
                <a:gd name="connsiteX1" fmla="*/ 4273 w 2264147"/>
                <a:gd name="connsiteY1" fmla="*/ 1346105 h 1346105"/>
                <a:gd name="connsiteX2" fmla="*/ 0 w 2264147"/>
                <a:gd name="connsiteY2" fmla="*/ 1261492 h 1346105"/>
                <a:gd name="connsiteX3" fmla="*/ 1261492 w 2264147"/>
                <a:gd name="connsiteY3" fmla="*/ 0 h 1346105"/>
                <a:gd name="connsiteX4" fmla="*/ 2234921 w 2264147"/>
                <a:gd name="connsiteY4" fmla="*/ 459066 h 1346105"/>
                <a:gd name="connsiteX5" fmla="*/ 2264147 w 2264147"/>
                <a:gd name="connsiteY5" fmla="*/ 498149 h 1346105"/>
                <a:gd name="connsiteX0" fmla="*/ 4273 w 2264147"/>
                <a:gd name="connsiteY0" fmla="*/ 1346105 h 1346105"/>
                <a:gd name="connsiteX1" fmla="*/ 0 w 2264147"/>
                <a:gd name="connsiteY1" fmla="*/ 1261492 h 1346105"/>
                <a:gd name="connsiteX2" fmla="*/ 1261492 w 2264147"/>
                <a:gd name="connsiteY2" fmla="*/ 0 h 1346105"/>
                <a:gd name="connsiteX3" fmla="*/ 2234921 w 2264147"/>
                <a:gd name="connsiteY3" fmla="*/ 459066 h 1346105"/>
                <a:gd name="connsiteX4" fmla="*/ 2264147 w 2264147"/>
                <a:gd name="connsiteY4" fmla="*/ 498149 h 1346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147" h="1346105">
                  <a:moveTo>
                    <a:pt x="4273" y="1346105"/>
                  </a:moveTo>
                  <a:lnTo>
                    <a:pt x="0" y="1261492"/>
                  </a:lnTo>
                  <a:cubicBezTo>
                    <a:pt x="0" y="564789"/>
                    <a:pt x="564789" y="0"/>
                    <a:pt x="1261492" y="0"/>
                  </a:cubicBezTo>
                  <a:cubicBezTo>
                    <a:pt x="1653388" y="0"/>
                    <a:pt x="2003545" y="178703"/>
                    <a:pt x="2234921" y="459066"/>
                  </a:cubicBezTo>
                  <a:lnTo>
                    <a:pt x="2264147" y="498149"/>
                  </a:lnTo>
                </a:path>
              </a:pathLst>
            </a:cu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61" name="Freeform 60"/>
            <p:cNvSpPr/>
            <p:nvPr/>
          </p:nvSpPr>
          <p:spPr>
            <a:xfrm rot="21401211">
              <a:off x="4743129" y="383342"/>
              <a:ext cx="270381" cy="271031"/>
            </a:xfrm>
            <a:custGeom>
              <a:avLst/>
              <a:gdLst>
                <a:gd name="connsiteX0" fmla="*/ 61580 w 706822"/>
                <a:gd name="connsiteY0" fmla="*/ 0 h 708521"/>
                <a:gd name="connsiteX1" fmla="*/ 706051 w 706822"/>
                <a:gd name="connsiteY1" fmla="*/ 708521 h 708521"/>
                <a:gd name="connsiteX2" fmla="*/ 0 w 706822"/>
                <a:gd name="connsiteY2" fmla="*/ 256349 h 708521"/>
                <a:gd name="connsiteX3" fmla="*/ 0 w 706822"/>
                <a:gd name="connsiteY3" fmla="*/ 966 h 708521"/>
                <a:gd name="connsiteX4" fmla="*/ 61580 w 706822"/>
                <a:gd name="connsiteY4" fmla="*/ 0 h 708521"/>
                <a:gd name="connsiteX0" fmla="*/ 0 w 706822"/>
                <a:gd name="connsiteY0" fmla="*/ 256349 h 708521"/>
                <a:gd name="connsiteX1" fmla="*/ 0 w 706822"/>
                <a:gd name="connsiteY1" fmla="*/ 966 h 708521"/>
                <a:gd name="connsiteX2" fmla="*/ 61580 w 706822"/>
                <a:gd name="connsiteY2" fmla="*/ 0 h 708521"/>
                <a:gd name="connsiteX3" fmla="*/ 706051 w 706822"/>
                <a:gd name="connsiteY3" fmla="*/ 708521 h 708521"/>
                <a:gd name="connsiteX4" fmla="*/ 91440 w 706822"/>
                <a:gd name="connsiteY4" fmla="*/ 347789 h 708521"/>
                <a:gd name="connsiteX0" fmla="*/ 0 w 706822"/>
                <a:gd name="connsiteY0" fmla="*/ 966 h 708521"/>
                <a:gd name="connsiteX1" fmla="*/ 61580 w 706822"/>
                <a:gd name="connsiteY1" fmla="*/ 0 h 708521"/>
                <a:gd name="connsiteX2" fmla="*/ 706051 w 706822"/>
                <a:gd name="connsiteY2" fmla="*/ 708521 h 708521"/>
                <a:gd name="connsiteX3" fmla="*/ 91440 w 706822"/>
                <a:gd name="connsiteY3" fmla="*/ 347789 h 708521"/>
                <a:gd name="connsiteX0" fmla="*/ 0 w 706822"/>
                <a:gd name="connsiteY0" fmla="*/ 966 h 708521"/>
                <a:gd name="connsiteX1" fmla="*/ 61580 w 706822"/>
                <a:gd name="connsiteY1" fmla="*/ 0 h 708521"/>
                <a:gd name="connsiteX2" fmla="*/ 706051 w 706822"/>
                <a:gd name="connsiteY2" fmla="*/ 708521 h 708521"/>
              </a:gdLst>
              <a:ahLst/>
              <a:cxnLst>
                <a:cxn ang="0">
                  <a:pos x="connsiteX0" y="connsiteY0"/>
                </a:cxn>
                <a:cxn ang="0">
                  <a:pos x="connsiteX1" y="connsiteY1"/>
                </a:cxn>
                <a:cxn ang="0">
                  <a:pos x="connsiteX2" y="connsiteY2"/>
                </a:cxn>
              </a:cxnLst>
              <a:rect l="l" t="t" r="r" b="b"/>
              <a:pathLst>
                <a:path w="706822" h="708521">
                  <a:moveTo>
                    <a:pt x="0" y="966"/>
                  </a:moveTo>
                  <a:lnTo>
                    <a:pt x="61580" y="0"/>
                  </a:lnTo>
                  <a:cubicBezTo>
                    <a:pt x="435199" y="17687"/>
                    <a:pt x="723738" y="334903"/>
                    <a:pt x="706051" y="708521"/>
                  </a:cubicBezTo>
                </a:path>
              </a:pathLst>
            </a:cu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nvGrpSpPr>
          <p:cNvPr id="62" name="Group 61"/>
          <p:cNvGrpSpPr/>
          <p:nvPr/>
        </p:nvGrpSpPr>
        <p:grpSpPr>
          <a:xfrm>
            <a:off x="3410102" y="1779061"/>
            <a:ext cx="2354092" cy="1965382"/>
            <a:chOff x="3410101" y="1779060"/>
            <a:chExt cx="2354092" cy="1965382"/>
          </a:xfrm>
        </p:grpSpPr>
        <p:sp>
          <p:nvSpPr>
            <p:cNvPr id="63" name="TextBox 62"/>
            <p:cNvSpPr txBox="1"/>
            <p:nvPr/>
          </p:nvSpPr>
          <p:spPr>
            <a:xfrm>
              <a:off x="3962535" y="3282777"/>
              <a:ext cx="1218930"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Workplace desktops</a:t>
              </a:r>
            </a:p>
          </p:txBody>
        </p:sp>
        <p:sp>
          <p:nvSpPr>
            <p:cNvPr id="64" name="TextBox 63"/>
            <p:cNvSpPr txBox="1"/>
            <p:nvPr/>
          </p:nvSpPr>
          <p:spPr>
            <a:xfrm>
              <a:off x="4395225" y="2206661"/>
              <a:ext cx="1368968"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Business </a:t>
              </a:r>
              <a:b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apps</a:t>
              </a:r>
            </a:p>
          </p:txBody>
        </p:sp>
        <p:sp>
          <p:nvSpPr>
            <p:cNvPr id="65" name="TextBox 64"/>
            <p:cNvSpPr txBox="1"/>
            <p:nvPr/>
          </p:nvSpPr>
          <p:spPr>
            <a:xfrm>
              <a:off x="3410101" y="2206661"/>
              <a:ext cx="1410550" cy="461665"/>
            </a:xfrm>
            <a:prstGeom prst="rect">
              <a:avLst/>
            </a:prstGeom>
            <a:ln>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Critical </a:t>
              </a:r>
              <a:b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br>
              <a:r>
                <a:rPr kumimoji="1" lang="en-US" sz="1200" b="0" i="0" u="none" strike="noStrike" kern="0" cap="none" spc="0" normalizeH="0" baseline="0" noProof="0" dirty="0">
                  <a:ln>
                    <a:noFill/>
                  </a:ln>
                  <a:solidFill>
                    <a:srgbClr val="FFFFFF"/>
                  </a:solidFill>
                  <a:effectLst/>
                  <a:uLnTx/>
                  <a:uFillTx/>
                  <a:latin typeface="Arial"/>
                  <a:ea typeface="CiscoSansTT" charset="0"/>
                  <a:cs typeface="CiscoSansTT" charset="0"/>
                </a:rPr>
                <a:t>infrastructure</a:t>
              </a:r>
            </a:p>
          </p:txBody>
        </p:sp>
        <p:grpSp>
          <p:nvGrpSpPr>
            <p:cNvPr id="66" name="Group 65"/>
            <p:cNvGrpSpPr/>
            <p:nvPr/>
          </p:nvGrpSpPr>
          <p:grpSpPr>
            <a:xfrm>
              <a:off x="4335416" y="2824235"/>
              <a:ext cx="473167" cy="410632"/>
              <a:chOff x="-945358" y="3037444"/>
              <a:chExt cx="1185949" cy="1029214"/>
            </a:xfrm>
          </p:grpSpPr>
          <p:sp>
            <p:nvSpPr>
              <p:cNvPr id="92" name="Freeform 91"/>
              <p:cNvSpPr>
                <a:spLocks noChangeArrowheads="1"/>
              </p:cNvSpPr>
              <p:nvPr/>
            </p:nvSpPr>
            <p:spPr bwMode="auto">
              <a:xfrm>
                <a:off x="-945358" y="3037444"/>
                <a:ext cx="1185949" cy="924726"/>
              </a:xfrm>
              <a:custGeom>
                <a:avLst/>
                <a:gdLst>
                  <a:gd name="T0" fmla="*/ 998 w 999"/>
                  <a:gd name="T1" fmla="*/ 709 h 779"/>
                  <a:gd name="T2" fmla="*/ 932 w 999"/>
                  <a:gd name="T3" fmla="*/ 778 h 779"/>
                  <a:gd name="T4" fmla="*/ 66 w 999"/>
                  <a:gd name="T5" fmla="*/ 778 h 779"/>
                  <a:gd name="T6" fmla="*/ 0 w 999"/>
                  <a:gd name="T7" fmla="*/ 709 h 779"/>
                  <a:gd name="T8" fmla="*/ 0 w 999"/>
                  <a:gd name="T9" fmla="*/ 69 h 779"/>
                  <a:gd name="T10" fmla="*/ 66 w 999"/>
                  <a:gd name="T11" fmla="*/ 0 h 779"/>
                  <a:gd name="T12" fmla="*/ 932 w 999"/>
                  <a:gd name="T13" fmla="*/ 0 h 779"/>
                  <a:gd name="T14" fmla="*/ 998 w 999"/>
                  <a:gd name="T15" fmla="*/ 69 h 779"/>
                  <a:gd name="T16" fmla="*/ 998 w 999"/>
                  <a:gd name="T17" fmla="*/ 709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9" h="779">
                    <a:moveTo>
                      <a:pt x="998" y="709"/>
                    </a:moveTo>
                    <a:cubicBezTo>
                      <a:pt x="998" y="746"/>
                      <a:pt x="969" y="778"/>
                      <a:pt x="932" y="778"/>
                    </a:cubicBezTo>
                    <a:lnTo>
                      <a:pt x="66" y="778"/>
                    </a:lnTo>
                    <a:cubicBezTo>
                      <a:pt x="29" y="778"/>
                      <a:pt x="0" y="746"/>
                      <a:pt x="0" y="709"/>
                    </a:cubicBezTo>
                    <a:lnTo>
                      <a:pt x="0" y="69"/>
                    </a:lnTo>
                    <a:cubicBezTo>
                      <a:pt x="0" y="32"/>
                      <a:pt x="29" y="0"/>
                      <a:pt x="66" y="0"/>
                    </a:cubicBezTo>
                    <a:lnTo>
                      <a:pt x="932" y="0"/>
                    </a:lnTo>
                    <a:cubicBezTo>
                      <a:pt x="969" y="0"/>
                      <a:pt x="998" y="32"/>
                      <a:pt x="998" y="69"/>
                    </a:cubicBezTo>
                    <a:lnTo>
                      <a:pt x="998" y="709"/>
                    </a:lnTo>
                  </a:path>
                </a:pathLst>
              </a:custGeom>
              <a:noFill/>
              <a:ln w="127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93" name="Line 31"/>
              <p:cNvSpPr>
                <a:spLocks noChangeShapeType="1"/>
              </p:cNvSpPr>
              <p:nvPr/>
            </p:nvSpPr>
            <p:spPr bwMode="auto">
              <a:xfrm>
                <a:off x="-707071" y="4066658"/>
                <a:ext cx="709375" cy="0"/>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94" name="Line 34"/>
              <p:cNvSpPr>
                <a:spLocks noChangeShapeType="1"/>
              </p:cNvSpPr>
              <p:nvPr/>
            </p:nvSpPr>
            <p:spPr bwMode="auto">
              <a:xfrm>
                <a:off x="-943529" y="3753193"/>
                <a:ext cx="1182292" cy="0"/>
              </a:xfrm>
              <a:prstGeom prst="line">
                <a:avLst/>
              </a:prstGeom>
              <a:noFill/>
              <a:ln w="12700" cap="flat">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nvGrpSpPr>
              <p:cNvPr id="95" name="Group 94"/>
              <p:cNvGrpSpPr/>
              <p:nvPr/>
            </p:nvGrpSpPr>
            <p:grpSpPr>
              <a:xfrm>
                <a:off x="-547966" y="3966954"/>
                <a:ext cx="391164" cy="93792"/>
                <a:chOff x="2482279" y="4022365"/>
                <a:chExt cx="211772" cy="50778"/>
              </a:xfrm>
            </p:grpSpPr>
            <p:sp>
              <p:nvSpPr>
                <p:cNvPr id="97" name="Line 32"/>
                <p:cNvSpPr>
                  <a:spLocks noChangeShapeType="1"/>
                </p:cNvSpPr>
                <p:nvPr/>
              </p:nvSpPr>
              <p:spPr bwMode="auto">
                <a:xfrm>
                  <a:off x="2677592" y="4022365"/>
                  <a:ext cx="16459" cy="50778"/>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98" name="Line 32"/>
                <p:cNvSpPr>
                  <a:spLocks noChangeShapeType="1"/>
                </p:cNvSpPr>
                <p:nvPr/>
              </p:nvSpPr>
              <p:spPr bwMode="auto">
                <a:xfrm flipV="1">
                  <a:off x="2482279" y="4022365"/>
                  <a:ext cx="16459" cy="50778"/>
                </a:xfrm>
                <a:prstGeom prst="line">
                  <a:avLst/>
                </a:prstGeom>
                <a:noFill/>
                <a:ln w="127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sp>
            <p:nvSpPr>
              <p:cNvPr id="96" name="Freeform 95"/>
              <p:cNvSpPr>
                <a:spLocks noChangeArrowheads="1"/>
              </p:cNvSpPr>
              <p:nvPr/>
            </p:nvSpPr>
            <p:spPr bwMode="auto">
              <a:xfrm>
                <a:off x="-379816" y="3829422"/>
                <a:ext cx="54864" cy="54864"/>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no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67" name="Group 66"/>
            <p:cNvGrpSpPr/>
            <p:nvPr/>
          </p:nvGrpSpPr>
          <p:grpSpPr>
            <a:xfrm>
              <a:off x="3873948" y="1779255"/>
              <a:ext cx="482856" cy="379496"/>
              <a:chOff x="1221211" y="3057047"/>
              <a:chExt cx="425485" cy="334405"/>
            </a:xfrm>
            <a:noFill/>
          </p:grpSpPr>
          <p:grpSp>
            <p:nvGrpSpPr>
              <p:cNvPr id="74" name="Group 73"/>
              <p:cNvGrpSpPr/>
              <p:nvPr/>
            </p:nvGrpSpPr>
            <p:grpSpPr>
              <a:xfrm>
                <a:off x="1221211" y="3057047"/>
                <a:ext cx="425485" cy="111283"/>
                <a:chOff x="1081872" y="2794148"/>
                <a:chExt cx="387779" cy="101421"/>
              </a:xfrm>
              <a:grpFill/>
            </p:grpSpPr>
            <p:sp>
              <p:nvSpPr>
                <p:cNvPr id="87" name="Rounded Rectangle 86"/>
                <p:cNvSpPr/>
                <p:nvPr/>
              </p:nvSpPr>
              <p:spPr>
                <a:xfrm>
                  <a:off x="1081872" y="2794148"/>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88" name="Oval 87"/>
                <p:cNvSpPr>
                  <a:spLocks noChangeAspect="1"/>
                </p:cNvSpPr>
                <p:nvPr/>
              </p:nvSpPr>
              <p:spPr>
                <a:xfrm>
                  <a:off x="1121096" y="2823656"/>
                  <a:ext cx="41680" cy="42102"/>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89" name="Freeform 88"/>
                <p:cNvSpPr>
                  <a:spLocks noChangeArrowheads="1"/>
                </p:cNvSpPr>
                <p:nvPr/>
              </p:nvSpPr>
              <p:spPr bwMode="auto">
                <a:xfrm>
                  <a:off x="1303167"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90" name="Freeform 89"/>
                <p:cNvSpPr>
                  <a:spLocks noChangeArrowheads="1"/>
                </p:cNvSpPr>
                <p:nvPr/>
              </p:nvSpPr>
              <p:spPr bwMode="auto">
                <a:xfrm>
                  <a:off x="1356418"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91" name="Freeform 90"/>
                <p:cNvSpPr>
                  <a:spLocks noChangeArrowheads="1"/>
                </p:cNvSpPr>
                <p:nvPr/>
              </p:nvSpPr>
              <p:spPr bwMode="auto">
                <a:xfrm>
                  <a:off x="1409669"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75" name="Group 74"/>
              <p:cNvGrpSpPr/>
              <p:nvPr/>
            </p:nvGrpSpPr>
            <p:grpSpPr>
              <a:xfrm>
                <a:off x="1221211" y="3168590"/>
                <a:ext cx="425485" cy="111283"/>
                <a:chOff x="1081872" y="2896619"/>
                <a:chExt cx="387779" cy="101421"/>
              </a:xfrm>
              <a:grpFill/>
            </p:grpSpPr>
            <p:sp>
              <p:nvSpPr>
                <p:cNvPr id="82" name="Rounded Rectangle 81"/>
                <p:cNvSpPr/>
                <p:nvPr/>
              </p:nvSpPr>
              <p:spPr>
                <a:xfrm>
                  <a:off x="1081872" y="2896619"/>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83" name="Oval 82"/>
                <p:cNvSpPr>
                  <a:spLocks noChangeAspect="1"/>
                </p:cNvSpPr>
                <p:nvPr/>
              </p:nvSpPr>
              <p:spPr>
                <a:xfrm>
                  <a:off x="1121097" y="2926127"/>
                  <a:ext cx="41981" cy="42406"/>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84" name="Freeform 83"/>
                <p:cNvSpPr>
                  <a:spLocks noChangeArrowheads="1"/>
                </p:cNvSpPr>
                <p:nvPr/>
              </p:nvSpPr>
              <p:spPr bwMode="auto">
                <a:xfrm>
                  <a:off x="1303167"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85" name="Freeform 84"/>
                <p:cNvSpPr>
                  <a:spLocks noChangeArrowheads="1"/>
                </p:cNvSpPr>
                <p:nvPr/>
              </p:nvSpPr>
              <p:spPr bwMode="auto">
                <a:xfrm>
                  <a:off x="1356418"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86" name="Freeform 85"/>
                <p:cNvSpPr>
                  <a:spLocks noChangeArrowheads="1"/>
                </p:cNvSpPr>
                <p:nvPr/>
              </p:nvSpPr>
              <p:spPr bwMode="auto">
                <a:xfrm>
                  <a:off x="1409669"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nvGrpSpPr>
              <p:cNvPr id="76" name="Group 75"/>
              <p:cNvGrpSpPr/>
              <p:nvPr/>
            </p:nvGrpSpPr>
            <p:grpSpPr>
              <a:xfrm>
                <a:off x="1221211" y="3280169"/>
                <a:ext cx="425485" cy="111283"/>
                <a:chOff x="1081872" y="2998041"/>
                <a:chExt cx="387779" cy="101421"/>
              </a:xfrm>
              <a:grpFill/>
            </p:grpSpPr>
            <p:sp>
              <p:nvSpPr>
                <p:cNvPr id="77" name="Rounded Rectangle 76"/>
                <p:cNvSpPr/>
                <p:nvPr/>
              </p:nvSpPr>
              <p:spPr>
                <a:xfrm>
                  <a:off x="1081872" y="2998041"/>
                  <a:ext cx="387779" cy="101421"/>
                </a:xfrm>
                <a:prstGeom prst="roundRect">
                  <a:avLst>
                    <a:gd name="adj" fmla="val 19917"/>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8" name="Oval 77"/>
                <p:cNvSpPr>
                  <a:spLocks noChangeAspect="1"/>
                </p:cNvSpPr>
                <p:nvPr/>
              </p:nvSpPr>
              <p:spPr>
                <a:xfrm>
                  <a:off x="1121097" y="3027549"/>
                  <a:ext cx="41981" cy="42406"/>
                </a:xfrm>
                <a:prstGeom prst="ellipse">
                  <a:avLst/>
                </a:prstGeom>
                <a:grp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9" name="Freeform 78"/>
                <p:cNvSpPr>
                  <a:spLocks noChangeArrowheads="1"/>
                </p:cNvSpPr>
                <p:nvPr/>
              </p:nvSpPr>
              <p:spPr bwMode="auto">
                <a:xfrm>
                  <a:off x="1303167"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80" name="Freeform 79"/>
                <p:cNvSpPr>
                  <a:spLocks noChangeArrowheads="1"/>
                </p:cNvSpPr>
                <p:nvPr/>
              </p:nvSpPr>
              <p:spPr bwMode="auto">
                <a:xfrm>
                  <a:off x="1356418"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sp>
              <p:nvSpPr>
                <p:cNvPr id="81" name="Freeform 80"/>
                <p:cNvSpPr>
                  <a:spLocks noChangeArrowheads="1"/>
                </p:cNvSpPr>
                <p:nvPr/>
              </p:nvSpPr>
              <p:spPr bwMode="auto">
                <a:xfrm>
                  <a:off x="1409669"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
                  </a:endParaRPr>
                </a:p>
              </p:txBody>
            </p:sp>
          </p:grpSp>
        </p:grpSp>
        <p:grpSp>
          <p:nvGrpSpPr>
            <p:cNvPr id="68" name="Group 67"/>
            <p:cNvGrpSpPr/>
            <p:nvPr/>
          </p:nvGrpSpPr>
          <p:grpSpPr>
            <a:xfrm>
              <a:off x="4873212" y="1779060"/>
              <a:ext cx="412994" cy="403552"/>
              <a:chOff x="4244046" y="1779060"/>
              <a:chExt cx="412994" cy="403552"/>
            </a:xfrm>
          </p:grpSpPr>
          <p:sp>
            <p:nvSpPr>
              <p:cNvPr id="69" name="Rounded Rectangle 68"/>
              <p:cNvSpPr/>
              <p:nvPr/>
            </p:nvSpPr>
            <p:spPr>
              <a:xfrm>
                <a:off x="4244046" y="1779060"/>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0" name="Rounded Rectangle 69"/>
              <p:cNvSpPr/>
              <p:nvPr/>
            </p:nvSpPr>
            <p:spPr>
              <a:xfrm>
                <a:off x="4244046" y="1976649"/>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1" name="Rounded Rectangle 70"/>
              <p:cNvSpPr/>
              <p:nvPr/>
            </p:nvSpPr>
            <p:spPr>
              <a:xfrm>
                <a:off x="4448861" y="1779060"/>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2" name="Rounded Rectangle 71"/>
              <p:cNvSpPr/>
              <p:nvPr/>
            </p:nvSpPr>
            <p:spPr>
              <a:xfrm>
                <a:off x="4448861" y="1976649"/>
                <a:ext cx="164592" cy="164592"/>
              </a:xfrm>
              <a:prstGeom prst="roundRect">
                <a:avLst/>
              </a:prstGeom>
              <a:no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73" name="Rounded Rectangle 72"/>
              <p:cNvSpPr/>
              <p:nvPr/>
            </p:nvSpPr>
            <p:spPr>
              <a:xfrm>
                <a:off x="4492448" y="2018020"/>
                <a:ext cx="164592" cy="164592"/>
              </a:xfrm>
              <a:prstGeom prst="roundRect">
                <a:avLst/>
              </a:prstGeom>
              <a:solidFill>
                <a:srgbClr val="FFFFFF"/>
              </a:solidFill>
              <a:ln w="127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grpSp>
      </p:grpSp>
      <p:sp>
        <p:nvSpPr>
          <p:cNvPr id="100" name="Freeform 99"/>
          <p:cNvSpPr/>
          <p:nvPr/>
        </p:nvSpPr>
        <p:spPr>
          <a:xfrm>
            <a:off x="5681420" y="4054078"/>
            <a:ext cx="307600" cy="328465"/>
          </a:xfrm>
          <a:custGeom>
            <a:avLst/>
            <a:gdLst>
              <a:gd name="connsiteX0" fmla="*/ 90848 w 818153"/>
              <a:gd name="connsiteY0" fmla="*/ 0 h 873653"/>
              <a:gd name="connsiteX1" fmla="*/ 727305 w 818153"/>
              <a:gd name="connsiteY1" fmla="*/ 0 h 873653"/>
              <a:gd name="connsiteX2" fmla="*/ 818153 w 818153"/>
              <a:gd name="connsiteY2" fmla="*/ 90848 h 873653"/>
              <a:gd name="connsiteX3" fmla="*/ 818153 w 818153"/>
              <a:gd name="connsiteY3" fmla="*/ 873653 h 873653"/>
              <a:gd name="connsiteX4" fmla="*/ 479643 w 818153"/>
              <a:gd name="connsiteY4" fmla="*/ 873653 h 873653"/>
              <a:gd name="connsiteX5" fmla="*/ 479643 w 818153"/>
              <a:gd name="connsiteY5" fmla="*/ 574581 h 873653"/>
              <a:gd name="connsiteX6" fmla="*/ 329288 w 818153"/>
              <a:gd name="connsiteY6" fmla="*/ 574581 h 873653"/>
              <a:gd name="connsiteX7" fmla="*/ 329288 w 818153"/>
              <a:gd name="connsiteY7" fmla="*/ 873653 h 873653"/>
              <a:gd name="connsiteX8" fmla="*/ 0 w 818153"/>
              <a:gd name="connsiteY8" fmla="*/ 873653 h 873653"/>
              <a:gd name="connsiteX9" fmla="*/ 0 w 818153"/>
              <a:gd name="connsiteY9" fmla="*/ 90848 h 873653"/>
              <a:gd name="connsiteX10" fmla="*/ 90848 w 818153"/>
              <a:gd name="connsiteY10" fmla="*/ 0 h 873653"/>
              <a:gd name="connsiteX11" fmla="*/ 84855 w 818153"/>
              <a:gd name="connsiteY11" fmla="*/ 85715 h 873653"/>
              <a:gd name="connsiteX12" fmla="*/ 84855 w 818153"/>
              <a:gd name="connsiteY12" fmla="*/ 236070 h 873653"/>
              <a:gd name="connsiteX13" fmla="*/ 160066 w 818153"/>
              <a:gd name="connsiteY13" fmla="*/ 236070 h 873653"/>
              <a:gd name="connsiteX14" fmla="*/ 235210 w 818153"/>
              <a:gd name="connsiteY14" fmla="*/ 236070 h 873653"/>
              <a:gd name="connsiteX15" fmla="*/ 235210 w 818153"/>
              <a:gd name="connsiteY15" fmla="*/ 85715 h 873653"/>
              <a:gd name="connsiteX16" fmla="*/ 84855 w 818153"/>
              <a:gd name="connsiteY16" fmla="*/ 85715 h 873653"/>
              <a:gd name="connsiteX17" fmla="*/ 329288 w 818153"/>
              <a:gd name="connsiteY17" fmla="*/ 85715 h 873653"/>
              <a:gd name="connsiteX18" fmla="*/ 329288 w 818153"/>
              <a:gd name="connsiteY18" fmla="*/ 236070 h 873653"/>
              <a:gd name="connsiteX19" fmla="*/ 404432 w 818153"/>
              <a:gd name="connsiteY19" fmla="*/ 236070 h 873653"/>
              <a:gd name="connsiteX20" fmla="*/ 479643 w 818153"/>
              <a:gd name="connsiteY20" fmla="*/ 236070 h 873653"/>
              <a:gd name="connsiteX21" fmla="*/ 479643 w 818153"/>
              <a:gd name="connsiteY21" fmla="*/ 85715 h 873653"/>
              <a:gd name="connsiteX22" fmla="*/ 329288 w 818153"/>
              <a:gd name="connsiteY22" fmla="*/ 85715 h 873653"/>
              <a:gd name="connsiteX23" fmla="*/ 573427 w 818153"/>
              <a:gd name="connsiteY23" fmla="*/ 85715 h 873653"/>
              <a:gd name="connsiteX24" fmla="*/ 573427 w 818153"/>
              <a:gd name="connsiteY24" fmla="*/ 236070 h 873653"/>
              <a:gd name="connsiteX25" fmla="*/ 648604 w 818153"/>
              <a:gd name="connsiteY25" fmla="*/ 236070 h 873653"/>
              <a:gd name="connsiteX26" fmla="*/ 723781 w 818153"/>
              <a:gd name="connsiteY26" fmla="*/ 236070 h 873653"/>
              <a:gd name="connsiteX27" fmla="*/ 723781 w 818153"/>
              <a:gd name="connsiteY27" fmla="*/ 85715 h 873653"/>
              <a:gd name="connsiteX28" fmla="*/ 573427 w 818153"/>
              <a:gd name="connsiteY28" fmla="*/ 85715 h 873653"/>
              <a:gd name="connsiteX29" fmla="*/ 84855 w 818153"/>
              <a:gd name="connsiteY29" fmla="*/ 330148 h 873653"/>
              <a:gd name="connsiteX30" fmla="*/ 84855 w 818153"/>
              <a:gd name="connsiteY30" fmla="*/ 480503 h 873653"/>
              <a:gd name="connsiteX31" fmla="*/ 160066 w 818153"/>
              <a:gd name="connsiteY31" fmla="*/ 480503 h 873653"/>
              <a:gd name="connsiteX32" fmla="*/ 235210 w 818153"/>
              <a:gd name="connsiteY32" fmla="*/ 480503 h 873653"/>
              <a:gd name="connsiteX33" fmla="*/ 235210 w 818153"/>
              <a:gd name="connsiteY33" fmla="*/ 330148 h 873653"/>
              <a:gd name="connsiteX34" fmla="*/ 84855 w 818153"/>
              <a:gd name="connsiteY34" fmla="*/ 330148 h 873653"/>
              <a:gd name="connsiteX35" fmla="*/ 329288 w 818153"/>
              <a:gd name="connsiteY35" fmla="*/ 330148 h 873653"/>
              <a:gd name="connsiteX36" fmla="*/ 329288 w 818153"/>
              <a:gd name="connsiteY36" fmla="*/ 480503 h 873653"/>
              <a:gd name="connsiteX37" fmla="*/ 404432 w 818153"/>
              <a:gd name="connsiteY37" fmla="*/ 480503 h 873653"/>
              <a:gd name="connsiteX38" fmla="*/ 479643 w 818153"/>
              <a:gd name="connsiteY38" fmla="*/ 480503 h 873653"/>
              <a:gd name="connsiteX39" fmla="*/ 479643 w 818153"/>
              <a:gd name="connsiteY39" fmla="*/ 330148 h 873653"/>
              <a:gd name="connsiteX40" fmla="*/ 329288 w 818153"/>
              <a:gd name="connsiteY40" fmla="*/ 330148 h 873653"/>
              <a:gd name="connsiteX41" fmla="*/ 573427 w 818153"/>
              <a:gd name="connsiteY41" fmla="*/ 330148 h 873653"/>
              <a:gd name="connsiteX42" fmla="*/ 573427 w 818153"/>
              <a:gd name="connsiteY42" fmla="*/ 480503 h 873653"/>
              <a:gd name="connsiteX43" fmla="*/ 648604 w 818153"/>
              <a:gd name="connsiteY43" fmla="*/ 480503 h 873653"/>
              <a:gd name="connsiteX44" fmla="*/ 723781 w 818153"/>
              <a:gd name="connsiteY44" fmla="*/ 480503 h 873653"/>
              <a:gd name="connsiteX45" fmla="*/ 723781 w 818153"/>
              <a:gd name="connsiteY45" fmla="*/ 330148 h 873653"/>
              <a:gd name="connsiteX46" fmla="*/ 573427 w 818153"/>
              <a:gd name="connsiteY46" fmla="*/ 330148 h 873653"/>
              <a:gd name="connsiteX47" fmla="*/ 84855 w 818153"/>
              <a:gd name="connsiteY47" fmla="*/ 574581 h 873653"/>
              <a:gd name="connsiteX48" fmla="*/ 84855 w 818153"/>
              <a:gd name="connsiteY48" fmla="*/ 724936 h 873653"/>
              <a:gd name="connsiteX49" fmla="*/ 160066 w 818153"/>
              <a:gd name="connsiteY49" fmla="*/ 724936 h 873653"/>
              <a:gd name="connsiteX50" fmla="*/ 235210 w 818153"/>
              <a:gd name="connsiteY50" fmla="*/ 724936 h 873653"/>
              <a:gd name="connsiteX51" fmla="*/ 235210 w 818153"/>
              <a:gd name="connsiteY51" fmla="*/ 574581 h 873653"/>
              <a:gd name="connsiteX52" fmla="*/ 84855 w 818153"/>
              <a:gd name="connsiteY52" fmla="*/ 574581 h 873653"/>
              <a:gd name="connsiteX53" fmla="*/ 573427 w 818153"/>
              <a:gd name="connsiteY53" fmla="*/ 574581 h 873653"/>
              <a:gd name="connsiteX54" fmla="*/ 573427 w 818153"/>
              <a:gd name="connsiteY54" fmla="*/ 724936 h 873653"/>
              <a:gd name="connsiteX55" fmla="*/ 648604 w 818153"/>
              <a:gd name="connsiteY55" fmla="*/ 724936 h 873653"/>
              <a:gd name="connsiteX56" fmla="*/ 723781 w 818153"/>
              <a:gd name="connsiteY56" fmla="*/ 724936 h 873653"/>
              <a:gd name="connsiteX57" fmla="*/ 723781 w 818153"/>
              <a:gd name="connsiteY57" fmla="*/ 574581 h 873653"/>
              <a:gd name="connsiteX58" fmla="*/ 573427 w 818153"/>
              <a:gd name="connsiteY58" fmla="*/ 574581 h 87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18153" h="873653">
                <a:moveTo>
                  <a:pt x="90848" y="0"/>
                </a:moveTo>
                <a:lnTo>
                  <a:pt x="727305" y="0"/>
                </a:lnTo>
                <a:cubicBezTo>
                  <a:pt x="777479" y="0"/>
                  <a:pt x="818153" y="40674"/>
                  <a:pt x="818153" y="90848"/>
                </a:cubicBezTo>
                <a:lnTo>
                  <a:pt x="818153" y="873653"/>
                </a:lnTo>
                <a:lnTo>
                  <a:pt x="479643" y="873653"/>
                </a:lnTo>
                <a:lnTo>
                  <a:pt x="479643" y="574581"/>
                </a:lnTo>
                <a:lnTo>
                  <a:pt x="329288" y="574581"/>
                </a:lnTo>
                <a:lnTo>
                  <a:pt x="329288" y="873653"/>
                </a:lnTo>
                <a:lnTo>
                  <a:pt x="0" y="873653"/>
                </a:lnTo>
                <a:lnTo>
                  <a:pt x="0" y="90848"/>
                </a:lnTo>
                <a:cubicBezTo>
                  <a:pt x="0" y="40674"/>
                  <a:pt x="40674" y="0"/>
                  <a:pt x="90848" y="0"/>
                </a:cubicBezTo>
                <a:close/>
                <a:moveTo>
                  <a:pt x="84855" y="85715"/>
                </a:moveTo>
                <a:lnTo>
                  <a:pt x="84855" y="236070"/>
                </a:lnTo>
                <a:lnTo>
                  <a:pt x="160066" y="236070"/>
                </a:lnTo>
                <a:lnTo>
                  <a:pt x="235210" y="236070"/>
                </a:lnTo>
                <a:lnTo>
                  <a:pt x="235210" y="85715"/>
                </a:lnTo>
                <a:lnTo>
                  <a:pt x="84855" y="85715"/>
                </a:lnTo>
                <a:close/>
                <a:moveTo>
                  <a:pt x="329288" y="85715"/>
                </a:moveTo>
                <a:lnTo>
                  <a:pt x="329288" y="236070"/>
                </a:lnTo>
                <a:lnTo>
                  <a:pt x="404432" y="236070"/>
                </a:lnTo>
                <a:lnTo>
                  <a:pt x="479643" y="236070"/>
                </a:lnTo>
                <a:lnTo>
                  <a:pt x="479643" y="85715"/>
                </a:lnTo>
                <a:lnTo>
                  <a:pt x="329288" y="85715"/>
                </a:lnTo>
                <a:close/>
                <a:moveTo>
                  <a:pt x="573427" y="85715"/>
                </a:moveTo>
                <a:lnTo>
                  <a:pt x="573427" y="236070"/>
                </a:lnTo>
                <a:lnTo>
                  <a:pt x="648604" y="236070"/>
                </a:lnTo>
                <a:lnTo>
                  <a:pt x="723781" y="236070"/>
                </a:lnTo>
                <a:lnTo>
                  <a:pt x="723781" y="85715"/>
                </a:lnTo>
                <a:lnTo>
                  <a:pt x="573427" y="85715"/>
                </a:lnTo>
                <a:close/>
                <a:moveTo>
                  <a:pt x="84855" y="330148"/>
                </a:moveTo>
                <a:lnTo>
                  <a:pt x="84855" y="480503"/>
                </a:lnTo>
                <a:lnTo>
                  <a:pt x="160066" y="480503"/>
                </a:lnTo>
                <a:lnTo>
                  <a:pt x="235210" y="480503"/>
                </a:lnTo>
                <a:lnTo>
                  <a:pt x="235210" y="330148"/>
                </a:lnTo>
                <a:lnTo>
                  <a:pt x="84855" y="330148"/>
                </a:lnTo>
                <a:close/>
                <a:moveTo>
                  <a:pt x="329288" y="330148"/>
                </a:moveTo>
                <a:lnTo>
                  <a:pt x="329288" y="480503"/>
                </a:lnTo>
                <a:lnTo>
                  <a:pt x="404432" y="480503"/>
                </a:lnTo>
                <a:lnTo>
                  <a:pt x="479643" y="480503"/>
                </a:lnTo>
                <a:lnTo>
                  <a:pt x="479643" y="330148"/>
                </a:lnTo>
                <a:lnTo>
                  <a:pt x="329288" y="330148"/>
                </a:lnTo>
                <a:close/>
                <a:moveTo>
                  <a:pt x="573427" y="330148"/>
                </a:moveTo>
                <a:lnTo>
                  <a:pt x="573427" y="480503"/>
                </a:lnTo>
                <a:lnTo>
                  <a:pt x="648604" y="480503"/>
                </a:lnTo>
                <a:lnTo>
                  <a:pt x="723781" y="480503"/>
                </a:lnTo>
                <a:lnTo>
                  <a:pt x="723781" y="330148"/>
                </a:lnTo>
                <a:lnTo>
                  <a:pt x="573427" y="330148"/>
                </a:lnTo>
                <a:close/>
                <a:moveTo>
                  <a:pt x="84855" y="574581"/>
                </a:moveTo>
                <a:lnTo>
                  <a:pt x="84855" y="724936"/>
                </a:lnTo>
                <a:lnTo>
                  <a:pt x="160066" y="724936"/>
                </a:lnTo>
                <a:lnTo>
                  <a:pt x="235210" y="724936"/>
                </a:lnTo>
                <a:lnTo>
                  <a:pt x="235210" y="574581"/>
                </a:lnTo>
                <a:lnTo>
                  <a:pt x="84855" y="574581"/>
                </a:lnTo>
                <a:close/>
                <a:moveTo>
                  <a:pt x="573427" y="574581"/>
                </a:moveTo>
                <a:lnTo>
                  <a:pt x="573427" y="724936"/>
                </a:lnTo>
                <a:lnTo>
                  <a:pt x="648604" y="724936"/>
                </a:lnTo>
                <a:lnTo>
                  <a:pt x="723781" y="724936"/>
                </a:lnTo>
                <a:lnTo>
                  <a:pt x="723781" y="574581"/>
                </a:lnTo>
                <a:lnTo>
                  <a:pt x="573427" y="574581"/>
                </a:lnTo>
                <a:close/>
              </a:path>
            </a:pathLst>
          </a:custGeom>
          <a:solidFill>
            <a:srgbClr val="FFFFFF"/>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
              <a:cs typeface=""/>
            </a:endParaRPr>
          </a:p>
        </p:txBody>
      </p:sp>
      <p:sp>
        <p:nvSpPr>
          <p:cNvPr id="101" name="TextBox 100"/>
          <p:cNvSpPr txBox="1"/>
          <p:nvPr/>
        </p:nvSpPr>
        <p:spPr>
          <a:xfrm>
            <a:off x="4172905" y="447381"/>
            <a:ext cx="820082" cy="276999"/>
          </a:xfrm>
          <a:prstGeom prst="rect">
            <a:avLst/>
          </a:prstGeom>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FFFFFF"/>
                </a:solidFill>
                <a:effectLst/>
                <a:uLnTx/>
                <a:uFillTx/>
                <a:latin typeface="Arial"/>
                <a:ea typeface="CiscoSansTT" charset="0"/>
                <a:cs typeface="CiscoSansTT" charset="0"/>
              </a:rPr>
              <a:t>Internet</a:t>
            </a:r>
          </a:p>
        </p:txBody>
      </p:sp>
      <p:sp>
        <p:nvSpPr>
          <p:cNvPr id="102" name="Title 2"/>
          <p:cNvSpPr txBox="1">
            <a:spLocks/>
          </p:cNvSpPr>
          <p:nvPr/>
        </p:nvSpPr>
        <p:spPr bwMode="auto">
          <a:xfrm>
            <a:off x="176120" y="132932"/>
            <a:ext cx="8268468" cy="3808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0000"/>
              </a:lnSpc>
              <a:spcBef>
                <a:spcPct val="0"/>
              </a:spcBef>
              <a:spcAft>
                <a:spcPct val="0"/>
              </a:spcAft>
              <a:defRPr lang="en-US" sz="2400" kern="1200" baseline="0">
                <a:solidFill>
                  <a:schemeClr val="tx1"/>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defRPr/>
            </a:pPr>
            <a:r>
              <a:rPr lang="en-US" sz="2800" dirty="0">
                <a:solidFill>
                  <a:srgbClr val="FFFFFF"/>
                </a:solidFill>
                <a:latin typeface="CiscoSansTT ExtraLight"/>
                <a:cs typeface="CiscoSansTT Thin" charset="0"/>
              </a:rPr>
              <a:t>But Now: The way we </a:t>
            </a:r>
          </a:p>
          <a:p>
            <a:pPr>
              <a:defRPr/>
            </a:pPr>
            <a:r>
              <a:rPr lang="en-US" sz="2800" dirty="0">
                <a:solidFill>
                  <a:srgbClr val="FFFFFF"/>
                </a:solidFill>
                <a:latin typeface="CiscoSansTT ExtraLight"/>
                <a:cs typeface="CiscoSansTT Thin" charset="0"/>
              </a:rPr>
              <a:t>work has changed</a:t>
            </a:r>
          </a:p>
        </p:txBody>
      </p:sp>
      <p:sp>
        <p:nvSpPr>
          <p:cNvPr id="104" name="Freeform 103"/>
          <p:cNvSpPr>
            <a:spLocks/>
          </p:cNvSpPr>
          <p:nvPr/>
        </p:nvSpPr>
        <p:spPr bwMode="auto">
          <a:xfrm>
            <a:off x="3104148" y="1107983"/>
            <a:ext cx="2935706" cy="2927536"/>
          </a:xfrm>
          <a:custGeom>
            <a:avLst/>
            <a:gdLst>
              <a:gd name="T0" fmla="*/ 442 w 695"/>
              <a:gd name="T1" fmla="*/ 52 h 693"/>
              <a:gd name="T2" fmla="*/ 52 w 695"/>
              <a:gd name="T3" fmla="*/ 252 h 693"/>
              <a:gd name="T4" fmla="*/ 252 w 695"/>
              <a:gd name="T5" fmla="*/ 641 h 693"/>
              <a:gd name="T6" fmla="*/ 643 w 695"/>
              <a:gd name="T7" fmla="*/ 441 h 693"/>
              <a:gd name="T8" fmla="*/ 442 w 695"/>
              <a:gd name="T9" fmla="*/ 52 h 693"/>
            </a:gdLst>
            <a:ahLst/>
            <a:cxnLst>
              <a:cxn ang="0">
                <a:pos x="T0" y="T1"/>
              </a:cxn>
              <a:cxn ang="0">
                <a:pos x="T2" y="T3"/>
              </a:cxn>
              <a:cxn ang="0">
                <a:pos x="T4" y="T5"/>
              </a:cxn>
              <a:cxn ang="0">
                <a:pos x="T6" y="T7"/>
              </a:cxn>
              <a:cxn ang="0">
                <a:pos x="T8" y="T9"/>
              </a:cxn>
            </a:cxnLst>
            <a:rect l="0" t="0" r="r" b="b"/>
            <a:pathLst>
              <a:path w="695" h="693">
                <a:moveTo>
                  <a:pt x="442" y="52"/>
                </a:moveTo>
                <a:cubicBezTo>
                  <a:pt x="279" y="0"/>
                  <a:pt x="104" y="90"/>
                  <a:pt x="52" y="252"/>
                </a:cubicBezTo>
                <a:cubicBezTo>
                  <a:pt x="0" y="414"/>
                  <a:pt x="89" y="589"/>
                  <a:pt x="252" y="641"/>
                </a:cubicBezTo>
                <a:cubicBezTo>
                  <a:pt x="415" y="693"/>
                  <a:pt x="590" y="603"/>
                  <a:pt x="643" y="441"/>
                </a:cubicBezTo>
                <a:cubicBezTo>
                  <a:pt x="695" y="279"/>
                  <a:pt x="605" y="104"/>
                  <a:pt x="442" y="52"/>
                </a:cubicBezTo>
              </a:path>
            </a:pathLst>
          </a:custGeom>
          <a:solidFill>
            <a:srgbClr val="333333">
              <a:alpha val="10000"/>
            </a:srgbClr>
          </a:solidFill>
          <a:ln w="76200">
            <a:solidFill>
              <a:schemeClr val="tx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sz="1800" b="0" i="0" u="none" strike="noStrike" kern="0" cap="none" spc="0" normalizeH="0" baseline="0" noProof="0">
              <a:ln>
                <a:noFill/>
              </a:ln>
              <a:solidFill>
                <a:srgbClr val="FFFFFF"/>
              </a:solidFill>
              <a:effectLst/>
              <a:uLnTx/>
              <a:uFillTx/>
              <a:latin typeface="Calibri" pitchFamily="34" charset="0"/>
              <a:ea typeface="PMingLiU" pitchFamily="18" charset="-120"/>
              <a:cs typeface="新細明體"/>
            </a:endParaRPr>
          </a:p>
        </p:txBody>
      </p:sp>
    </p:spTree>
    <p:extLst>
      <p:ext uri="{BB962C8B-B14F-4D97-AF65-F5344CB8AC3E}">
        <p14:creationId xmlns:p14="http://schemas.microsoft.com/office/powerpoint/2010/main" val="2666599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par>
                                <p:cTn id="8" presetID="22" presetClass="entr" presetSubtype="1"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par>
                                <p:cTn id="14" presetID="22" presetClass="entr" presetSubtype="1" fill="hold"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wipe(up)">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par>
                                <p:cTn id="24" presetID="10" presetClass="entr" presetSubtype="0" fill="hold"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par>
                                <p:cTn id="30" presetID="10" presetClass="entr" presetSubtype="0" fill="hold" nodeType="with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nodeType="with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500"/>
                                        <p:tgtEl>
                                          <p:spTgt spid="4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00"/>
                                        </p:tgtEl>
                                        <p:attrNameLst>
                                          <p:attrName>style.visibility</p:attrName>
                                        </p:attrNameLst>
                                      </p:cBhvr>
                                      <p:to>
                                        <p:strVal val="visible"/>
                                      </p:to>
                                    </p:set>
                                    <p:animEffect transition="in" filter="fade">
                                      <p:cBhvr>
                                        <p:cTn id="47"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p:bldP spid="34" grpId="0"/>
      <p:bldP spid="35" grpId="0"/>
      <p:bldP spid="36" grpId="0"/>
      <p:bldP spid="55" grpId="0" animBg="1"/>
      <p:bldP spid="10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2395C15B-D040-46A1-AF90-C0200F549482}"/>
              </a:ext>
            </a:extLst>
          </p:cNvPr>
          <p:cNvPicPr>
            <a:picLocks noGrp="1" noChangeAspect="1"/>
          </p:cNvPicPr>
          <p:nvPr>
            <p:ph type="pic" sz="quarter" idx="10"/>
          </p:nvPr>
        </p:nvPicPr>
        <p:blipFill rotWithShape="1">
          <a:blip r:embed="rId3"/>
          <a:srcRect t="7817" b="7817"/>
          <a:stretch/>
        </p:blipFill>
        <p:spPr>
          <a:xfrm>
            <a:off x="0" y="0"/>
            <a:ext cx="9147175" cy="5143500"/>
          </a:xfrm>
          <a:prstGeom prst="rect">
            <a:avLst/>
          </a:prstGeom>
          <a:ln>
            <a:noFill/>
          </a:ln>
        </p:spPr>
      </p:pic>
      <p:sp>
        <p:nvSpPr>
          <p:cNvPr id="6" name="Rectangle 5"/>
          <p:cNvSpPr/>
          <p:nvPr/>
        </p:nvSpPr>
        <p:spPr>
          <a:xfrm>
            <a:off x="0" y="0"/>
            <a:ext cx="9144000" cy="5143500"/>
          </a:xfrm>
          <a:prstGeom prst="rect">
            <a:avLst/>
          </a:prstGeom>
          <a:solidFill>
            <a:schemeClr val="tx2">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20" name="Freeform 7"/>
          <p:cNvSpPr>
            <a:spLocks noChangeArrowheads="1"/>
          </p:cNvSpPr>
          <p:nvPr/>
        </p:nvSpPr>
        <p:spPr bwMode="auto">
          <a:xfrm>
            <a:off x="-572401" y="3350638"/>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25" name="Freeform 7"/>
          <p:cNvSpPr>
            <a:spLocks noChangeArrowheads="1"/>
          </p:cNvSpPr>
          <p:nvPr/>
        </p:nvSpPr>
        <p:spPr bwMode="auto">
          <a:xfrm>
            <a:off x="-521254" y="3526812"/>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30" name="Freeform 7"/>
          <p:cNvSpPr>
            <a:spLocks noChangeArrowheads="1"/>
          </p:cNvSpPr>
          <p:nvPr/>
        </p:nvSpPr>
        <p:spPr bwMode="auto">
          <a:xfrm>
            <a:off x="-582338" y="3617206"/>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2" name="TextBox 1">
            <a:extLst>
              <a:ext uri="{FF2B5EF4-FFF2-40B4-BE49-F238E27FC236}">
                <a16:creationId xmlns:a16="http://schemas.microsoft.com/office/drawing/2014/main" id="{A6F7032A-8EA7-7349-ABC5-D16F534BEDD0}"/>
              </a:ext>
            </a:extLst>
          </p:cNvPr>
          <p:cNvSpPr txBox="1"/>
          <p:nvPr/>
        </p:nvSpPr>
        <p:spPr>
          <a:xfrm>
            <a:off x="9144000" y="4774168"/>
            <a:ext cx="184731" cy="369332"/>
          </a:xfrm>
          <a:prstGeom prst="rect">
            <a:avLst/>
          </a:prstGeom>
          <a:noFill/>
        </p:spPr>
        <p:txBody>
          <a:bodyPr wrap="none" rtlCol="0">
            <a:spAutoFit/>
          </a:bodyPr>
          <a:lstStyle/>
          <a:p>
            <a:pPr algn="l"/>
            <a:endParaRPr lang="en-US" dirty="0" err="1">
              <a:solidFill>
                <a:schemeClr val="bg2"/>
              </a:solidFill>
              <a:latin typeface="+mn-lt"/>
            </a:endParaRPr>
          </a:p>
        </p:txBody>
      </p:sp>
      <p:pic>
        <p:nvPicPr>
          <p:cNvPr id="23" name="Picture 22">
            <a:extLst>
              <a:ext uri="{FF2B5EF4-FFF2-40B4-BE49-F238E27FC236}">
                <a16:creationId xmlns:a16="http://schemas.microsoft.com/office/drawing/2014/main" id="{70949836-AE1D-4A7F-B671-59072131AD4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348679" y="4631036"/>
            <a:ext cx="713887" cy="496216"/>
          </a:xfrm>
          <a:prstGeom prst="rect">
            <a:avLst/>
          </a:prstGeom>
        </p:spPr>
      </p:pic>
      <p:pic>
        <p:nvPicPr>
          <p:cNvPr id="46" name="Picture 45">
            <a:extLst>
              <a:ext uri="{FF2B5EF4-FFF2-40B4-BE49-F238E27FC236}">
                <a16:creationId xmlns:a16="http://schemas.microsoft.com/office/drawing/2014/main" id="{15FC18B2-AEB8-9246-A4CC-51CA92518C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 y="1372940"/>
            <a:ext cx="9143995" cy="2937508"/>
          </a:xfrm>
          <a:prstGeom prst="rect">
            <a:avLst/>
          </a:prstGeom>
        </p:spPr>
      </p:pic>
      <p:sp>
        <p:nvSpPr>
          <p:cNvPr id="47" name="Shape 128">
            <a:extLst>
              <a:ext uri="{FF2B5EF4-FFF2-40B4-BE49-F238E27FC236}">
                <a16:creationId xmlns:a16="http://schemas.microsoft.com/office/drawing/2014/main" id="{EF1C8214-081A-C648-8FA6-7F2E8D27B04B}"/>
              </a:ext>
            </a:extLst>
          </p:cNvPr>
          <p:cNvSpPr txBox="1">
            <a:spLocks/>
          </p:cNvSpPr>
          <p:nvPr/>
        </p:nvSpPr>
        <p:spPr>
          <a:xfrm>
            <a:off x="367327" y="234405"/>
            <a:ext cx="6484388" cy="1138535"/>
          </a:xfrm>
          <a:prstGeom prst="rect">
            <a:avLst/>
          </a:prstGeom>
        </p:spPr>
        <p:txBody>
          <a:bodyPr>
            <a:norm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solidFill>
                  <a:schemeClr val="bg2"/>
                </a:solidFill>
              </a:rPr>
              <a:t>Malicious Binaries and Encryption</a:t>
            </a:r>
          </a:p>
        </p:txBody>
      </p:sp>
      <p:sp>
        <p:nvSpPr>
          <p:cNvPr id="48" name="Text Placeholder 1">
            <a:extLst>
              <a:ext uri="{FF2B5EF4-FFF2-40B4-BE49-F238E27FC236}">
                <a16:creationId xmlns:a16="http://schemas.microsoft.com/office/drawing/2014/main" id="{6B07EF33-D826-3A40-B07A-345D25B404A3}"/>
              </a:ext>
            </a:extLst>
          </p:cNvPr>
          <p:cNvSpPr txBox="1">
            <a:spLocks/>
          </p:cNvSpPr>
          <p:nvPr/>
        </p:nvSpPr>
        <p:spPr>
          <a:xfrm>
            <a:off x="5276908" y="2984602"/>
            <a:ext cx="1574807" cy="240754"/>
          </a:xfrm>
          <a:prstGeom prst="rect">
            <a:avLst/>
          </a:prstGeom>
        </p:spPr>
        <p:txBody>
          <a:bodyP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60000"/>
              </a:lnSpc>
              <a:spcBef>
                <a:spcPts val="0"/>
              </a:spcBef>
              <a:buFont typeface="Arial" charset="0"/>
              <a:buNone/>
            </a:pPr>
            <a:r>
              <a:rPr lang="en-US" sz="2100">
                <a:solidFill>
                  <a:schemeClr val="bg2"/>
                </a:solidFill>
              </a:rPr>
              <a:t>Increase</a:t>
            </a:r>
          </a:p>
        </p:txBody>
      </p:sp>
      <p:pic>
        <p:nvPicPr>
          <p:cNvPr id="49" name="Picture 48">
            <a:extLst>
              <a:ext uri="{FF2B5EF4-FFF2-40B4-BE49-F238E27FC236}">
                <a16:creationId xmlns:a16="http://schemas.microsoft.com/office/drawing/2014/main" id="{5848EC42-DDA8-5849-9770-5BB98421B1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7929" y="4480980"/>
            <a:ext cx="587915" cy="321174"/>
          </a:xfrm>
          <a:prstGeom prst="rect">
            <a:avLst/>
          </a:prstGeom>
        </p:spPr>
      </p:pic>
      <p:sp>
        <p:nvSpPr>
          <p:cNvPr id="50" name="TextBox 49">
            <a:extLst>
              <a:ext uri="{FF2B5EF4-FFF2-40B4-BE49-F238E27FC236}">
                <a16:creationId xmlns:a16="http://schemas.microsoft.com/office/drawing/2014/main" id="{9A675F0D-8811-354D-A76A-5427B10C719E}"/>
              </a:ext>
            </a:extLst>
          </p:cNvPr>
          <p:cNvSpPr txBox="1"/>
          <p:nvPr/>
        </p:nvSpPr>
        <p:spPr>
          <a:xfrm>
            <a:off x="301204" y="1911320"/>
            <a:ext cx="1356140" cy="2846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sz="1350" b="1" kern="0" dirty="0">
                <a:solidFill>
                  <a:schemeClr val="bg2"/>
                </a:solidFill>
                <a:latin typeface="Arial"/>
                <a:ea typeface="+mn-ea"/>
                <a:cs typeface="+mn-cs"/>
                <a:sym typeface="Helvetica Light"/>
              </a:rPr>
              <a:t>November 2016</a:t>
            </a:r>
          </a:p>
        </p:txBody>
      </p:sp>
      <p:sp>
        <p:nvSpPr>
          <p:cNvPr id="51" name="Content Placeholder 2">
            <a:extLst>
              <a:ext uri="{FF2B5EF4-FFF2-40B4-BE49-F238E27FC236}">
                <a16:creationId xmlns:a16="http://schemas.microsoft.com/office/drawing/2014/main" id="{69BC6A03-D66F-9543-BE27-74FC9411F89C}"/>
              </a:ext>
            </a:extLst>
          </p:cNvPr>
          <p:cNvSpPr txBox="1">
            <a:spLocks/>
          </p:cNvSpPr>
          <p:nvPr/>
        </p:nvSpPr>
        <p:spPr>
          <a:xfrm>
            <a:off x="367327" y="764873"/>
            <a:ext cx="7217294" cy="398736"/>
          </a:xfrm>
          <a:prstGeom prst="rect">
            <a:avLst/>
          </a:prstGeom>
          <a:ln w="12700">
            <a:miter lim="400000"/>
          </a:ln>
          <a:extLst>
            <a:ext uri="{C572A759-6A51-4108-AA02-DFA0A04FC94B}">
              <ma14:wrappingTextBoxFlag xmlns:ma14="http://schemas.microsoft.com/office/mac/drawingml/2011/main" xmlns="" val="1"/>
            </a:ext>
          </a:extLst>
        </p:spPr>
        <p:txBody>
          <a:bodyPr lIns="38100" tIns="38100" rIns="38100" bIns="38100" anchor="t" anchorCtr="0">
            <a:normAutofit/>
          </a:bodyPr>
          <a:lstStyle>
            <a:lvl1pPr marL="312528" marR="0" indent="-312528" algn="l" defTabSz="410751" rtl="0" latinLnBrk="0">
              <a:lnSpc>
                <a:spcPct val="100000"/>
              </a:lnSpc>
              <a:spcBef>
                <a:spcPts val="1000"/>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1pPr>
            <a:lvl2pPr marL="625056" marR="0" indent="-312528" algn="l" defTabSz="410751" rtl="0" latinLnBrk="0">
              <a:lnSpc>
                <a:spcPct val="100000"/>
              </a:lnSpc>
              <a:spcBef>
                <a:spcPts val="1000"/>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2pPr>
            <a:lvl3pPr marL="937584" marR="0" indent="-312528" algn="l" defTabSz="410751" rtl="0" latinLnBrk="0">
              <a:lnSpc>
                <a:spcPct val="100000"/>
              </a:lnSpc>
              <a:spcBef>
                <a:spcPts val="1000"/>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3pPr>
            <a:lvl4pPr marL="1250112" marR="0" indent="-312528" algn="l" defTabSz="410751" rtl="0" latinLnBrk="0">
              <a:lnSpc>
                <a:spcPct val="100000"/>
              </a:lnSpc>
              <a:spcBef>
                <a:spcPts val="1000"/>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4pPr>
            <a:lvl5pPr marL="1562640" marR="0" indent="-312528" algn="l" defTabSz="410751" rtl="0" latinLnBrk="0">
              <a:lnSpc>
                <a:spcPct val="100000"/>
              </a:lnSpc>
              <a:spcBef>
                <a:spcPts val="1000"/>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5pPr>
            <a:lvl6pPr marL="1875168"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6pPr>
            <a:lvl7pPr marL="2187696"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7pPr>
            <a:lvl8pPr marL="2500224"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8pPr>
            <a:lvl9pPr marL="2812752"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9pPr>
          </a:lstStyle>
          <a:p>
            <a:pPr marL="0" indent="0" defTabSz="308063" fontAlgn="auto">
              <a:spcBef>
                <a:spcPts val="750"/>
              </a:spcBef>
              <a:buNone/>
            </a:pPr>
            <a:r>
              <a:rPr lang="en-US" sz="1500" kern="0" dirty="0">
                <a:solidFill>
                  <a:schemeClr val="bg2"/>
                </a:solidFill>
                <a:latin typeface="Arial"/>
              </a:rPr>
              <a:t>Attackers embrace encryption to conceal their command-and-control activity</a:t>
            </a:r>
          </a:p>
        </p:txBody>
      </p:sp>
      <p:sp>
        <p:nvSpPr>
          <p:cNvPr id="52" name="TextBox 51">
            <a:extLst>
              <a:ext uri="{FF2B5EF4-FFF2-40B4-BE49-F238E27FC236}">
                <a16:creationId xmlns:a16="http://schemas.microsoft.com/office/drawing/2014/main" id="{54E1D45E-6545-D041-8D56-7926FCD4662C}"/>
              </a:ext>
            </a:extLst>
          </p:cNvPr>
          <p:cNvSpPr txBox="1"/>
          <p:nvPr/>
        </p:nvSpPr>
        <p:spPr>
          <a:xfrm>
            <a:off x="767677" y="2680840"/>
            <a:ext cx="538609" cy="353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kern="0" dirty="0">
                <a:solidFill>
                  <a:schemeClr val="bg2"/>
                </a:solidFill>
                <a:latin typeface="Arial"/>
                <a:ea typeface="+mn-ea"/>
                <a:cs typeface="+mn-cs"/>
                <a:sym typeface="Helvetica Light"/>
              </a:rPr>
              <a:t>19%</a:t>
            </a:r>
          </a:p>
        </p:txBody>
      </p:sp>
      <p:sp>
        <p:nvSpPr>
          <p:cNvPr id="53" name="TextBox 52">
            <a:extLst>
              <a:ext uri="{FF2B5EF4-FFF2-40B4-BE49-F238E27FC236}">
                <a16:creationId xmlns:a16="http://schemas.microsoft.com/office/drawing/2014/main" id="{1903F664-99C5-E343-9E22-F2727350F0D7}"/>
              </a:ext>
            </a:extLst>
          </p:cNvPr>
          <p:cNvSpPr txBox="1"/>
          <p:nvPr/>
        </p:nvSpPr>
        <p:spPr>
          <a:xfrm>
            <a:off x="5220949" y="1643346"/>
            <a:ext cx="1487587" cy="353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kern="0" dirty="0">
                <a:solidFill>
                  <a:schemeClr val="bg2"/>
                </a:solidFill>
                <a:latin typeface="Arial"/>
                <a:ea typeface="+mn-ea"/>
                <a:cs typeface="+mn-cs"/>
                <a:sym typeface="Helvetica Light"/>
              </a:rPr>
              <a:t>12% Increase</a:t>
            </a:r>
          </a:p>
        </p:txBody>
      </p:sp>
      <p:sp>
        <p:nvSpPr>
          <p:cNvPr id="54" name="Text Placeholder 1">
            <a:extLst>
              <a:ext uri="{FF2B5EF4-FFF2-40B4-BE49-F238E27FC236}">
                <a16:creationId xmlns:a16="http://schemas.microsoft.com/office/drawing/2014/main" id="{A0C20F4B-353B-F44C-86B9-B2BCA29D59FF}"/>
              </a:ext>
            </a:extLst>
          </p:cNvPr>
          <p:cNvSpPr txBox="1">
            <a:spLocks/>
          </p:cNvSpPr>
          <p:nvPr/>
        </p:nvSpPr>
        <p:spPr>
          <a:xfrm>
            <a:off x="5276909" y="2565942"/>
            <a:ext cx="1763594" cy="489917"/>
          </a:xfrm>
          <a:prstGeom prst="rect">
            <a:avLst/>
          </a:prstGeom>
          <a:ln w="12700">
            <a:miter lim="400000"/>
          </a:ln>
          <a:extLst>
            <a:ext uri="{C572A759-6A51-4108-AA02-DFA0A04FC94B}">
              <ma14:wrappingTextBoxFlag xmlns:ma14="http://schemas.microsoft.com/office/mac/drawingml/2011/main" xmlns="" val="1"/>
            </a:ext>
          </a:extLst>
        </p:spPr>
        <p:txBody>
          <a:bodyPr lIns="38100" tIns="38100" rIns="38100" bIns="38100" anchor="t" anchorCtr="0">
            <a:noAutofit/>
          </a:bodyPr>
          <a:lstStyle>
            <a:lvl1pPr marL="128583" marR="0" indent="-183945" algn="l" defTabSz="410751" rtl="0" latinLnBrk="0">
              <a:lnSpc>
                <a:spcPct val="100000"/>
              </a:lnSpc>
              <a:spcBef>
                <a:spcPts val="844"/>
              </a:spcBef>
              <a:spcAft>
                <a:spcPts val="0"/>
              </a:spcAft>
              <a:buClrTx/>
              <a:buSzPct val="75000"/>
              <a:buFontTx/>
              <a:buChar char="•"/>
              <a:tabLst/>
              <a:defRPr sz="2250" b="0" i="0" u="none" strike="noStrike" cap="none" spc="0" baseline="0">
                <a:ln>
                  <a:noFill/>
                </a:ln>
                <a:solidFill>
                  <a:srgbClr val="002855"/>
                </a:solidFill>
                <a:uFillTx/>
                <a:latin typeface="+mn-lt"/>
                <a:ea typeface="+mn-ea"/>
                <a:cs typeface="+mn-cs"/>
                <a:sym typeface="Helvetica Light"/>
              </a:defRPr>
            </a:lvl1pPr>
            <a:lvl2pPr marL="128583" marR="0" indent="-183945" algn="l" defTabSz="410751" rtl="0" latinLnBrk="0">
              <a:lnSpc>
                <a:spcPct val="100000"/>
              </a:lnSpc>
              <a:spcBef>
                <a:spcPts val="844"/>
              </a:spcBef>
              <a:spcAft>
                <a:spcPts val="0"/>
              </a:spcAft>
              <a:buClrTx/>
              <a:buSzPct val="75000"/>
              <a:buFontTx/>
              <a:buChar char="•"/>
              <a:tabLst/>
              <a:defRPr sz="2250" b="0" i="0" u="none" strike="noStrike" cap="none" spc="0" baseline="0">
                <a:ln>
                  <a:noFill/>
                </a:ln>
                <a:solidFill>
                  <a:srgbClr val="002855"/>
                </a:solidFill>
                <a:uFillTx/>
                <a:latin typeface="+mn-lt"/>
                <a:ea typeface="+mn-ea"/>
                <a:cs typeface="+mn-cs"/>
                <a:sym typeface="Helvetica Light"/>
              </a:defRPr>
            </a:lvl2pPr>
            <a:lvl3pPr marL="128583" marR="0" indent="-183945" algn="l" defTabSz="410751" rtl="0" latinLnBrk="0">
              <a:lnSpc>
                <a:spcPct val="100000"/>
              </a:lnSpc>
              <a:spcBef>
                <a:spcPts val="844"/>
              </a:spcBef>
              <a:spcAft>
                <a:spcPts val="0"/>
              </a:spcAft>
              <a:buClrTx/>
              <a:buSzPct val="75000"/>
              <a:buFontTx/>
              <a:buChar char="•"/>
              <a:tabLst/>
              <a:defRPr sz="2250" b="0" i="0" u="none" strike="noStrike" cap="none" spc="0" baseline="0">
                <a:ln>
                  <a:noFill/>
                </a:ln>
                <a:solidFill>
                  <a:srgbClr val="002855"/>
                </a:solidFill>
                <a:uFillTx/>
                <a:latin typeface="+mn-lt"/>
                <a:ea typeface="+mn-ea"/>
                <a:cs typeface="+mn-cs"/>
                <a:sym typeface="Helvetica Light"/>
              </a:defRPr>
            </a:lvl3pPr>
            <a:lvl4pPr marL="128583" marR="0" indent="-183945" algn="l" defTabSz="410751" rtl="0" latinLnBrk="0">
              <a:lnSpc>
                <a:spcPct val="100000"/>
              </a:lnSpc>
              <a:spcBef>
                <a:spcPts val="844"/>
              </a:spcBef>
              <a:spcAft>
                <a:spcPts val="0"/>
              </a:spcAft>
              <a:buClrTx/>
              <a:buSzPct val="75000"/>
              <a:buFontTx/>
              <a:buChar char="•"/>
              <a:tabLst/>
              <a:defRPr sz="2250" b="0" i="0" u="none" strike="noStrike" cap="none" spc="0" baseline="0">
                <a:ln>
                  <a:noFill/>
                </a:ln>
                <a:solidFill>
                  <a:srgbClr val="002855"/>
                </a:solidFill>
                <a:uFillTx/>
                <a:latin typeface="+mn-lt"/>
                <a:ea typeface="+mn-ea"/>
                <a:cs typeface="+mn-cs"/>
                <a:sym typeface="Helvetica Light"/>
              </a:defRPr>
            </a:lvl4pPr>
            <a:lvl5pPr marL="128583" marR="0" indent="-183945" algn="l" defTabSz="410751" rtl="0" latinLnBrk="0">
              <a:lnSpc>
                <a:spcPct val="100000"/>
              </a:lnSpc>
              <a:spcBef>
                <a:spcPts val="844"/>
              </a:spcBef>
              <a:spcAft>
                <a:spcPts val="0"/>
              </a:spcAft>
              <a:buClrTx/>
              <a:buSzPct val="75000"/>
              <a:buFontTx/>
              <a:buChar char="•"/>
              <a:tabLst/>
              <a:defRPr sz="2250" b="0" i="0" u="none" strike="noStrike" cap="none" spc="0" baseline="0">
                <a:ln>
                  <a:noFill/>
                </a:ln>
                <a:solidFill>
                  <a:srgbClr val="002855"/>
                </a:solidFill>
                <a:uFillTx/>
                <a:latin typeface="+mn-lt"/>
                <a:ea typeface="+mn-ea"/>
                <a:cs typeface="+mn-cs"/>
                <a:sym typeface="Helvetica Light"/>
              </a:defRPr>
            </a:lvl5pPr>
            <a:lvl6pPr marL="1875168"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6pPr>
            <a:lvl7pPr marL="2187696"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7pPr>
            <a:lvl8pPr marL="2500224"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8pPr>
            <a:lvl9pPr marL="2812752" marR="0" indent="-312528" algn="l" defTabSz="410751" rtl="0" latinLnBrk="0">
              <a:lnSpc>
                <a:spcPct val="100000"/>
              </a:lnSpc>
              <a:spcBef>
                <a:spcPts val="2953"/>
              </a:spcBef>
              <a:spcAft>
                <a:spcPts val="0"/>
              </a:spcAft>
              <a:buClrTx/>
              <a:buSzPct val="75000"/>
              <a:buFontTx/>
              <a:buChar char="•"/>
              <a:tabLst/>
              <a:defRPr sz="2531" b="0" i="0" u="none" strike="noStrike" cap="none" spc="0" baseline="0">
                <a:ln>
                  <a:noFill/>
                </a:ln>
                <a:solidFill>
                  <a:srgbClr val="000000"/>
                </a:solidFill>
                <a:uFillTx/>
                <a:latin typeface="+mn-lt"/>
                <a:ea typeface="+mn-ea"/>
                <a:cs typeface="+mn-cs"/>
                <a:sym typeface="Helvetica Light"/>
              </a:defRPr>
            </a:lvl9pPr>
          </a:lstStyle>
          <a:p>
            <a:pPr marL="0" indent="0" defTabSz="308063" fontAlgn="auto">
              <a:lnSpc>
                <a:spcPct val="60000"/>
              </a:lnSpc>
              <a:spcBef>
                <a:spcPts val="0"/>
              </a:spcBef>
              <a:buNone/>
            </a:pPr>
            <a:r>
              <a:rPr lang="en-US" sz="4050" kern="0" dirty="0">
                <a:solidFill>
                  <a:schemeClr val="bg2"/>
                </a:solidFill>
                <a:latin typeface="Arial"/>
              </a:rPr>
              <a:t>268%</a:t>
            </a:r>
          </a:p>
        </p:txBody>
      </p:sp>
      <p:sp>
        <p:nvSpPr>
          <p:cNvPr id="55" name="TextBox 54">
            <a:extLst>
              <a:ext uri="{FF2B5EF4-FFF2-40B4-BE49-F238E27FC236}">
                <a16:creationId xmlns:a16="http://schemas.microsoft.com/office/drawing/2014/main" id="{74187328-4381-0E4C-AAB1-059208D81B95}"/>
              </a:ext>
            </a:extLst>
          </p:cNvPr>
          <p:cNvSpPr txBox="1"/>
          <p:nvPr/>
        </p:nvSpPr>
        <p:spPr>
          <a:xfrm>
            <a:off x="3372148" y="2671361"/>
            <a:ext cx="538609" cy="353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kern="0" dirty="0">
                <a:solidFill>
                  <a:schemeClr val="bg2"/>
                </a:solidFill>
                <a:latin typeface="Arial"/>
                <a:ea typeface="+mn-ea"/>
                <a:cs typeface="+mn-cs"/>
                <a:sym typeface="Helvetica Light"/>
              </a:rPr>
              <a:t>70%</a:t>
            </a:r>
          </a:p>
        </p:txBody>
      </p:sp>
      <p:sp>
        <p:nvSpPr>
          <p:cNvPr id="56" name="TextBox 55">
            <a:extLst>
              <a:ext uri="{FF2B5EF4-FFF2-40B4-BE49-F238E27FC236}">
                <a16:creationId xmlns:a16="http://schemas.microsoft.com/office/drawing/2014/main" id="{2E3D0ECC-6836-564E-87C6-54F9B86CAF37}"/>
              </a:ext>
            </a:extLst>
          </p:cNvPr>
          <p:cNvSpPr txBox="1"/>
          <p:nvPr/>
        </p:nvSpPr>
        <p:spPr>
          <a:xfrm>
            <a:off x="3372148" y="1939581"/>
            <a:ext cx="538609" cy="353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kern="0" dirty="0">
                <a:solidFill>
                  <a:schemeClr val="bg2"/>
                </a:solidFill>
                <a:latin typeface="Arial"/>
                <a:ea typeface="+mn-ea"/>
                <a:cs typeface="+mn-cs"/>
                <a:sym typeface="Helvetica Light"/>
              </a:rPr>
              <a:t>50%</a:t>
            </a:r>
          </a:p>
        </p:txBody>
      </p:sp>
      <p:sp>
        <p:nvSpPr>
          <p:cNvPr id="57" name="TextBox 56">
            <a:extLst>
              <a:ext uri="{FF2B5EF4-FFF2-40B4-BE49-F238E27FC236}">
                <a16:creationId xmlns:a16="http://schemas.microsoft.com/office/drawing/2014/main" id="{E3F38CC8-EC32-A440-BB5B-899D6717DB2D}"/>
              </a:ext>
            </a:extLst>
          </p:cNvPr>
          <p:cNvSpPr txBox="1"/>
          <p:nvPr/>
        </p:nvSpPr>
        <p:spPr>
          <a:xfrm>
            <a:off x="767677" y="2293524"/>
            <a:ext cx="538609" cy="353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kern="0" dirty="0">
                <a:solidFill>
                  <a:schemeClr val="bg2"/>
                </a:solidFill>
                <a:latin typeface="Arial"/>
                <a:ea typeface="+mn-ea"/>
                <a:cs typeface="+mn-cs"/>
                <a:sym typeface="Helvetica Light"/>
              </a:rPr>
              <a:t>38%</a:t>
            </a:r>
          </a:p>
        </p:txBody>
      </p:sp>
      <p:grpSp>
        <p:nvGrpSpPr>
          <p:cNvPr id="58" name="Group 57">
            <a:extLst>
              <a:ext uri="{FF2B5EF4-FFF2-40B4-BE49-F238E27FC236}">
                <a16:creationId xmlns:a16="http://schemas.microsoft.com/office/drawing/2014/main" id="{12808258-62EC-8347-BF5A-931BC7A9ADBC}"/>
              </a:ext>
            </a:extLst>
          </p:cNvPr>
          <p:cNvGrpSpPr/>
          <p:nvPr/>
        </p:nvGrpSpPr>
        <p:grpSpPr>
          <a:xfrm>
            <a:off x="2281741" y="4228947"/>
            <a:ext cx="1983872" cy="497711"/>
            <a:chOff x="6790690" y="5761811"/>
            <a:chExt cx="2645163" cy="663614"/>
          </a:xfrm>
        </p:grpSpPr>
        <p:sp>
          <p:nvSpPr>
            <p:cNvPr id="59" name="Oval 58">
              <a:extLst>
                <a:ext uri="{FF2B5EF4-FFF2-40B4-BE49-F238E27FC236}">
                  <a16:creationId xmlns:a16="http://schemas.microsoft.com/office/drawing/2014/main" id="{74918612-830B-6843-B043-C8424A71F8EA}"/>
                </a:ext>
              </a:extLst>
            </p:cNvPr>
            <p:cNvSpPr/>
            <p:nvPr/>
          </p:nvSpPr>
          <p:spPr>
            <a:xfrm>
              <a:off x="6790690" y="5761811"/>
              <a:ext cx="172617" cy="663614"/>
            </a:xfrm>
            <a:prstGeom prst="ellipse">
              <a:avLst/>
            </a:prstGeom>
            <a:solidFill>
              <a:schemeClr val="bg2">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438150" fontAlgn="auto" hangingPunct="0">
                <a:spcBef>
                  <a:spcPts val="0"/>
                </a:spcBef>
                <a:spcAft>
                  <a:spcPts val="0"/>
                </a:spcAft>
              </a:pPr>
              <a:endParaRPr lang="en-US" kern="0">
                <a:solidFill>
                  <a:schemeClr val="bg2"/>
                </a:solidFill>
                <a:latin typeface="Arial"/>
                <a:ea typeface="+mn-ea"/>
                <a:cs typeface="+mn-cs"/>
                <a:sym typeface="Helvetica Light"/>
              </a:endParaRPr>
            </a:p>
          </p:txBody>
        </p:sp>
        <p:sp>
          <p:nvSpPr>
            <p:cNvPr id="60" name="TextBox 59">
              <a:extLst>
                <a:ext uri="{FF2B5EF4-FFF2-40B4-BE49-F238E27FC236}">
                  <a16:creationId xmlns:a16="http://schemas.microsoft.com/office/drawing/2014/main" id="{D085A2FF-D1A9-EA41-85CD-6564EDDF4A09}"/>
                </a:ext>
              </a:extLst>
            </p:cNvPr>
            <p:cNvSpPr txBox="1"/>
            <p:nvPr/>
          </p:nvSpPr>
          <p:spPr>
            <a:xfrm>
              <a:off x="6986465" y="5934599"/>
              <a:ext cx="2449388"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sz="1050" kern="0" dirty="0">
                  <a:solidFill>
                    <a:schemeClr val="bg2"/>
                  </a:solidFill>
                  <a:latin typeface="Arial"/>
                  <a:ea typeface="+mn-ea"/>
                  <a:cs typeface="+mn-cs"/>
                  <a:sym typeface="Helvetica Light"/>
                </a:rPr>
                <a:t>Global Encrypted Web Traffic</a:t>
              </a:r>
            </a:p>
          </p:txBody>
        </p:sp>
      </p:grpSp>
      <p:grpSp>
        <p:nvGrpSpPr>
          <p:cNvPr id="61" name="Group 60">
            <a:extLst>
              <a:ext uri="{FF2B5EF4-FFF2-40B4-BE49-F238E27FC236}">
                <a16:creationId xmlns:a16="http://schemas.microsoft.com/office/drawing/2014/main" id="{070E82C2-C6A9-2441-8C87-84E22AE4E5D0}"/>
              </a:ext>
            </a:extLst>
          </p:cNvPr>
          <p:cNvGrpSpPr/>
          <p:nvPr/>
        </p:nvGrpSpPr>
        <p:grpSpPr>
          <a:xfrm>
            <a:off x="4886274" y="4228947"/>
            <a:ext cx="2819302" cy="497711"/>
            <a:chOff x="9013168" y="5761811"/>
            <a:chExt cx="3759069" cy="663614"/>
          </a:xfrm>
        </p:grpSpPr>
        <p:sp>
          <p:nvSpPr>
            <p:cNvPr id="62" name="Oval 61">
              <a:extLst>
                <a:ext uri="{FF2B5EF4-FFF2-40B4-BE49-F238E27FC236}">
                  <a16:creationId xmlns:a16="http://schemas.microsoft.com/office/drawing/2014/main" id="{3BCD35DD-7C2C-104A-A0CA-8256BF337B6B}"/>
                </a:ext>
              </a:extLst>
            </p:cNvPr>
            <p:cNvSpPr/>
            <p:nvPr/>
          </p:nvSpPr>
          <p:spPr>
            <a:xfrm>
              <a:off x="9013168" y="5761811"/>
              <a:ext cx="172617" cy="663614"/>
            </a:xfrm>
            <a:prstGeom prst="ellipse">
              <a:avLst/>
            </a:prstGeom>
            <a:solidFill>
              <a:srgbClr val="083E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438150" fontAlgn="auto" hangingPunct="0">
                <a:spcBef>
                  <a:spcPts val="0"/>
                </a:spcBef>
                <a:spcAft>
                  <a:spcPts val="0"/>
                </a:spcAft>
              </a:pPr>
              <a:endParaRPr lang="en-US" kern="0">
                <a:solidFill>
                  <a:schemeClr val="bg2"/>
                </a:solidFill>
                <a:latin typeface="Arial"/>
                <a:ea typeface="+mn-ea"/>
                <a:cs typeface="+mn-cs"/>
                <a:sym typeface="Helvetica Light"/>
              </a:endParaRPr>
            </a:p>
          </p:txBody>
        </p:sp>
        <p:sp>
          <p:nvSpPr>
            <p:cNvPr id="63" name="TextBox 62">
              <a:extLst>
                <a:ext uri="{FF2B5EF4-FFF2-40B4-BE49-F238E27FC236}">
                  <a16:creationId xmlns:a16="http://schemas.microsoft.com/office/drawing/2014/main" id="{90033F08-6D9C-6446-8CEE-86F855DD8CC4}"/>
                </a:ext>
              </a:extLst>
            </p:cNvPr>
            <p:cNvSpPr txBox="1"/>
            <p:nvPr/>
          </p:nvSpPr>
          <p:spPr>
            <a:xfrm>
              <a:off x="9185785" y="5934599"/>
              <a:ext cx="3586452"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sz="1050" kern="0" dirty="0">
                  <a:solidFill>
                    <a:schemeClr val="bg2"/>
                  </a:solidFill>
                  <a:latin typeface="Arial"/>
                  <a:ea typeface="+mn-ea"/>
                  <a:cs typeface="+mn-cs"/>
                  <a:sym typeface="Helvetica Light"/>
                </a:rPr>
                <a:t>Malicious Sandbox Binaries with Encryption</a:t>
              </a:r>
            </a:p>
          </p:txBody>
        </p:sp>
      </p:grpSp>
      <p:sp>
        <p:nvSpPr>
          <p:cNvPr id="64" name="TextBox 63">
            <a:extLst>
              <a:ext uri="{FF2B5EF4-FFF2-40B4-BE49-F238E27FC236}">
                <a16:creationId xmlns:a16="http://schemas.microsoft.com/office/drawing/2014/main" id="{3F80A73F-CCF9-A943-828C-A6C9BD8E32B1}"/>
              </a:ext>
            </a:extLst>
          </p:cNvPr>
          <p:cNvSpPr txBox="1"/>
          <p:nvPr/>
        </p:nvSpPr>
        <p:spPr>
          <a:xfrm>
            <a:off x="3037594" y="1581868"/>
            <a:ext cx="1173398" cy="2846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8100" tIns="38100" rIns="38100" bIns="38100" numCol="1" spcCol="38100" rtlCol="0" anchor="ctr">
            <a:spAutoFit/>
          </a:bodyPr>
          <a:lstStyle/>
          <a:p>
            <a:pPr defTabSz="438150" fontAlgn="auto" hangingPunct="0">
              <a:spcBef>
                <a:spcPts val="0"/>
              </a:spcBef>
              <a:spcAft>
                <a:spcPts val="0"/>
              </a:spcAft>
            </a:pPr>
            <a:r>
              <a:rPr lang="en-US" sz="1350" b="1" kern="0" dirty="0">
                <a:solidFill>
                  <a:schemeClr val="bg2"/>
                </a:solidFill>
                <a:latin typeface="Arial"/>
                <a:ea typeface="+mn-ea"/>
                <a:cs typeface="+mn-cs"/>
                <a:sym typeface="Helvetica Light"/>
              </a:rPr>
              <a:t>October 2017</a:t>
            </a:r>
          </a:p>
        </p:txBody>
      </p:sp>
    </p:spTree>
    <p:extLst>
      <p:ext uri="{BB962C8B-B14F-4D97-AF65-F5344CB8AC3E}">
        <p14:creationId xmlns:p14="http://schemas.microsoft.com/office/powerpoint/2010/main" val="116082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2395C15B-D040-46A1-AF90-C0200F549482}"/>
              </a:ext>
            </a:extLst>
          </p:cNvPr>
          <p:cNvPicPr>
            <a:picLocks noGrp="1" noChangeAspect="1"/>
          </p:cNvPicPr>
          <p:nvPr>
            <p:ph type="pic" sz="quarter" idx="10"/>
          </p:nvPr>
        </p:nvPicPr>
        <p:blipFill rotWithShape="1">
          <a:blip r:embed="rId3"/>
          <a:srcRect t="7817" b="7817"/>
          <a:stretch/>
        </p:blipFill>
        <p:spPr>
          <a:xfrm>
            <a:off x="0" y="0"/>
            <a:ext cx="9147175" cy="5143500"/>
          </a:xfrm>
          <a:prstGeom prst="rect">
            <a:avLst/>
          </a:prstGeom>
          <a:ln>
            <a:noFill/>
          </a:ln>
        </p:spPr>
      </p:pic>
      <p:sp>
        <p:nvSpPr>
          <p:cNvPr id="6" name="Rectangle 5"/>
          <p:cNvSpPr/>
          <p:nvPr/>
        </p:nvSpPr>
        <p:spPr>
          <a:xfrm>
            <a:off x="0" y="0"/>
            <a:ext cx="9144000" cy="5143500"/>
          </a:xfrm>
          <a:prstGeom prst="rect">
            <a:avLst/>
          </a:prstGeom>
          <a:solidFill>
            <a:schemeClr val="tx2">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20" name="Freeform 7"/>
          <p:cNvSpPr>
            <a:spLocks noChangeArrowheads="1"/>
          </p:cNvSpPr>
          <p:nvPr/>
        </p:nvSpPr>
        <p:spPr bwMode="auto">
          <a:xfrm>
            <a:off x="-572401" y="3350638"/>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25" name="Freeform 7"/>
          <p:cNvSpPr>
            <a:spLocks noChangeArrowheads="1"/>
          </p:cNvSpPr>
          <p:nvPr/>
        </p:nvSpPr>
        <p:spPr bwMode="auto">
          <a:xfrm>
            <a:off x="-521254" y="3526812"/>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30" name="Freeform 7"/>
          <p:cNvSpPr>
            <a:spLocks noChangeArrowheads="1"/>
          </p:cNvSpPr>
          <p:nvPr/>
        </p:nvSpPr>
        <p:spPr bwMode="auto">
          <a:xfrm>
            <a:off x="-582338" y="3617206"/>
            <a:ext cx="19874" cy="19874"/>
          </a:xfrm>
          <a:custGeom>
            <a:avLst/>
            <a:gdLst>
              <a:gd name="T0" fmla="*/ 107 w 108"/>
              <a:gd name="T1" fmla="*/ 53 h 108"/>
              <a:gd name="T2" fmla="*/ 100 w 108"/>
              <a:gd name="T3" fmla="*/ 80 h 108"/>
              <a:gd name="T4" fmla="*/ 80 w 108"/>
              <a:gd name="T5" fmla="*/ 100 h 108"/>
              <a:gd name="T6" fmla="*/ 53 w 108"/>
              <a:gd name="T7" fmla="*/ 107 h 108"/>
              <a:gd name="T8" fmla="*/ 27 w 108"/>
              <a:gd name="T9" fmla="*/ 100 h 108"/>
              <a:gd name="T10" fmla="*/ 7 w 108"/>
              <a:gd name="T11" fmla="*/ 80 h 108"/>
              <a:gd name="T12" fmla="*/ 0 w 108"/>
              <a:gd name="T13" fmla="*/ 53 h 108"/>
              <a:gd name="T14" fmla="*/ 7 w 108"/>
              <a:gd name="T15" fmla="*/ 26 h 108"/>
              <a:gd name="T16" fmla="*/ 27 w 108"/>
              <a:gd name="T17" fmla="*/ 7 h 108"/>
              <a:gd name="T18" fmla="*/ 53 w 108"/>
              <a:gd name="T19" fmla="*/ 0 h 108"/>
              <a:gd name="T20" fmla="*/ 80 w 108"/>
              <a:gd name="T21" fmla="*/ 7 h 108"/>
              <a:gd name="T22" fmla="*/ 100 w 108"/>
              <a:gd name="T23" fmla="*/ 26 h 108"/>
              <a:gd name="T24" fmla="*/ 107 w 108"/>
              <a:gd name="T25"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08">
                <a:moveTo>
                  <a:pt x="107" y="53"/>
                </a:moveTo>
                <a:cubicBezTo>
                  <a:pt x="107" y="63"/>
                  <a:pt x="105" y="71"/>
                  <a:pt x="100" y="80"/>
                </a:cubicBezTo>
                <a:cubicBezTo>
                  <a:pt x="95" y="89"/>
                  <a:pt x="89" y="95"/>
                  <a:pt x="80" y="100"/>
                </a:cubicBezTo>
                <a:cubicBezTo>
                  <a:pt x="72" y="105"/>
                  <a:pt x="63" y="107"/>
                  <a:pt x="53" y="107"/>
                </a:cubicBezTo>
                <a:cubicBezTo>
                  <a:pt x="44" y="107"/>
                  <a:pt x="36" y="105"/>
                  <a:pt x="27" y="100"/>
                </a:cubicBezTo>
                <a:cubicBezTo>
                  <a:pt x="19" y="95"/>
                  <a:pt x="12" y="89"/>
                  <a:pt x="7" y="80"/>
                </a:cubicBezTo>
                <a:cubicBezTo>
                  <a:pt x="2" y="71"/>
                  <a:pt x="0" y="63"/>
                  <a:pt x="0" y="53"/>
                </a:cubicBezTo>
                <a:cubicBezTo>
                  <a:pt x="0" y="43"/>
                  <a:pt x="2" y="35"/>
                  <a:pt x="7" y="26"/>
                </a:cubicBezTo>
                <a:cubicBezTo>
                  <a:pt x="12" y="18"/>
                  <a:pt x="19" y="12"/>
                  <a:pt x="27" y="7"/>
                </a:cubicBezTo>
                <a:cubicBezTo>
                  <a:pt x="36" y="2"/>
                  <a:pt x="44" y="0"/>
                  <a:pt x="53" y="0"/>
                </a:cubicBezTo>
                <a:cubicBezTo>
                  <a:pt x="63" y="0"/>
                  <a:pt x="72" y="2"/>
                  <a:pt x="80" y="7"/>
                </a:cubicBezTo>
                <a:cubicBezTo>
                  <a:pt x="89" y="12"/>
                  <a:pt x="95" y="18"/>
                  <a:pt x="100" y="26"/>
                </a:cubicBezTo>
                <a:cubicBezTo>
                  <a:pt x="105" y="35"/>
                  <a:pt x="107" y="43"/>
                  <a:pt x="107" y="53"/>
                </a:cubicBezTo>
              </a:path>
            </a:pathLst>
          </a:custGeom>
          <a:solidFill>
            <a:srgbClr val="FFFFFF"/>
          </a:solidFill>
          <a:ln w="9525" cap="flat">
            <a:solidFill>
              <a:schemeClr val="tx1"/>
            </a:solidFill>
            <a:bevel/>
            <a:headEnd/>
            <a:tailEnd/>
          </a:ln>
          <a:effectLst/>
        </p:spPr>
        <p:txBody>
          <a:bodyPr wrap="none" anchor="ctr"/>
          <a:lstStyle/>
          <a:p>
            <a:pPr defTabSz="457189" fontAlgn="auto">
              <a:spcBef>
                <a:spcPts val="0"/>
              </a:spcBef>
              <a:spcAft>
                <a:spcPts val="0"/>
              </a:spcAft>
            </a:pPr>
            <a:endParaRPr lang="en-US" kern="0">
              <a:solidFill>
                <a:srgbClr val="FFFFFF"/>
              </a:solidFill>
              <a:latin typeface="Arial"/>
              <a:ea typeface="ＭＳ Ｐゴシック" pitchFamily="34" charset="-128"/>
              <a:cs typeface=""/>
            </a:endParaRPr>
          </a:p>
        </p:txBody>
      </p:sp>
      <p:sp>
        <p:nvSpPr>
          <p:cNvPr id="2" name="TextBox 1">
            <a:extLst>
              <a:ext uri="{FF2B5EF4-FFF2-40B4-BE49-F238E27FC236}">
                <a16:creationId xmlns:a16="http://schemas.microsoft.com/office/drawing/2014/main" id="{A6F7032A-8EA7-7349-ABC5-D16F534BEDD0}"/>
              </a:ext>
            </a:extLst>
          </p:cNvPr>
          <p:cNvSpPr txBox="1"/>
          <p:nvPr/>
        </p:nvSpPr>
        <p:spPr>
          <a:xfrm>
            <a:off x="9144000" y="4774168"/>
            <a:ext cx="184731" cy="369332"/>
          </a:xfrm>
          <a:prstGeom prst="rect">
            <a:avLst/>
          </a:prstGeom>
          <a:noFill/>
        </p:spPr>
        <p:txBody>
          <a:bodyPr wrap="none" rtlCol="0">
            <a:spAutoFit/>
          </a:bodyPr>
          <a:lstStyle/>
          <a:p>
            <a:pPr algn="l"/>
            <a:endParaRPr lang="en-US" dirty="0" err="1">
              <a:latin typeface="+mn-lt"/>
            </a:endParaRPr>
          </a:p>
        </p:txBody>
      </p:sp>
      <p:pic>
        <p:nvPicPr>
          <p:cNvPr id="23" name="Picture 22">
            <a:extLst>
              <a:ext uri="{FF2B5EF4-FFF2-40B4-BE49-F238E27FC236}">
                <a16:creationId xmlns:a16="http://schemas.microsoft.com/office/drawing/2014/main" id="{70949836-AE1D-4A7F-B671-59072131AD4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348679" y="4647284"/>
            <a:ext cx="713887" cy="496216"/>
          </a:xfrm>
          <a:prstGeom prst="rect">
            <a:avLst/>
          </a:prstGeom>
        </p:spPr>
      </p:pic>
      <p:sp>
        <p:nvSpPr>
          <p:cNvPr id="74" name="Title 1">
            <a:extLst>
              <a:ext uri="{FF2B5EF4-FFF2-40B4-BE49-F238E27FC236}">
                <a16:creationId xmlns:a16="http://schemas.microsoft.com/office/drawing/2014/main" id="{63AF728A-764B-6D41-A948-356CAC7AB9E1}"/>
              </a:ext>
            </a:extLst>
          </p:cNvPr>
          <p:cNvSpPr txBox="1">
            <a:spLocks/>
          </p:cNvSpPr>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2800" b="0" i="0" u="none" kern="1200">
                <a:solidFill>
                  <a:schemeClr val="tx1"/>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80000"/>
              </a:lnSpc>
              <a:spcBef>
                <a:spcPct val="0"/>
              </a:spcBef>
              <a:spcAft>
                <a:spcPct val="0"/>
              </a:spcAft>
              <a:buClrTx/>
              <a:buSzTx/>
              <a:buFontTx/>
              <a:buNone/>
              <a:tabLst/>
              <a:defRPr/>
            </a:pPr>
            <a:r>
              <a:rPr lang="en-US" dirty="0">
                <a:solidFill>
                  <a:srgbClr val="FFFFFF"/>
                </a:solidFill>
                <a:latin typeface="CiscoSansTT ExtraLight"/>
              </a:rPr>
              <a:t>CyberSecurity Challenges</a:t>
            </a:r>
          </a:p>
        </p:txBody>
      </p:sp>
      <p:grpSp>
        <p:nvGrpSpPr>
          <p:cNvPr id="76" name="Group 75">
            <a:extLst>
              <a:ext uri="{FF2B5EF4-FFF2-40B4-BE49-F238E27FC236}">
                <a16:creationId xmlns:a16="http://schemas.microsoft.com/office/drawing/2014/main" id="{2F1F753F-8184-B948-AE7C-9A4915F150E2}"/>
              </a:ext>
            </a:extLst>
          </p:cNvPr>
          <p:cNvGrpSpPr/>
          <p:nvPr/>
        </p:nvGrpSpPr>
        <p:grpSpPr>
          <a:xfrm>
            <a:off x="6381002" y="1598428"/>
            <a:ext cx="1828800" cy="2617277"/>
            <a:chOff x="6381000" y="1724809"/>
            <a:chExt cx="1828800" cy="2617277"/>
          </a:xfrm>
        </p:grpSpPr>
        <p:sp>
          <p:nvSpPr>
            <p:cNvPr id="77" name="TextBox 76">
              <a:extLst>
                <a:ext uri="{FF2B5EF4-FFF2-40B4-BE49-F238E27FC236}">
                  <a16:creationId xmlns:a16="http://schemas.microsoft.com/office/drawing/2014/main" id="{A89355DF-5BE2-A040-804F-45366E588DA8}"/>
                </a:ext>
              </a:extLst>
            </p:cNvPr>
            <p:cNvSpPr txBox="1"/>
            <p:nvPr/>
          </p:nvSpPr>
          <p:spPr>
            <a:xfrm>
              <a:off x="6542631" y="3695755"/>
              <a:ext cx="1505540" cy="646331"/>
            </a:xfrm>
            <a:prstGeom prst="rect">
              <a:avLst/>
            </a:prstGeom>
            <a:noFill/>
          </p:spPr>
          <p:txBody>
            <a:bodyPr wrap="none" rtlCol="0">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Rapid </a:t>
              </a:r>
            </a:p>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Containment</a:t>
              </a:r>
            </a:p>
          </p:txBody>
        </p:sp>
        <p:grpSp>
          <p:nvGrpSpPr>
            <p:cNvPr id="78" name="Group 77">
              <a:extLst>
                <a:ext uri="{FF2B5EF4-FFF2-40B4-BE49-F238E27FC236}">
                  <a16:creationId xmlns:a16="http://schemas.microsoft.com/office/drawing/2014/main" id="{1015DEDE-8B8A-6948-A86A-7B46CE39496A}"/>
                </a:ext>
              </a:extLst>
            </p:cNvPr>
            <p:cNvGrpSpPr/>
            <p:nvPr/>
          </p:nvGrpSpPr>
          <p:grpSpPr>
            <a:xfrm>
              <a:off x="6381000" y="1724809"/>
              <a:ext cx="1828800" cy="1828800"/>
              <a:chOff x="6381000" y="1682366"/>
              <a:chExt cx="1828800" cy="1828800"/>
            </a:xfrm>
          </p:grpSpPr>
          <p:sp>
            <p:nvSpPr>
              <p:cNvPr id="79" name="Oval 78">
                <a:extLst>
                  <a:ext uri="{FF2B5EF4-FFF2-40B4-BE49-F238E27FC236}">
                    <a16:creationId xmlns:a16="http://schemas.microsoft.com/office/drawing/2014/main" id="{FD5080EB-6BD8-714D-8F06-3CE53EFE1993}"/>
                  </a:ext>
                </a:extLst>
              </p:cNvPr>
              <p:cNvSpPr/>
              <p:nvPr/>
            </p:nvSpPr>
            <p:spPr>
              <a:xfrm>
                <a:off x="6381000" y="1682366"/>
                <a:ext cx="1828800" cy="1828800"/>
              </a:xfrm>
              <a:prstGeom prst="ellipse">
                <a:avLst/>
              </a:prstGeom>
              <a:solidFill>
                <a:srgbClr val="005073"/>
              </a:solidFill>
              <a:ln w="25400" cap="flat" cmpd="sng" algn="ctr">
                <a:noFill/>
                <a:prstDash val="solid"/>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grpSp>
            <p:nvGrpSpPr>
              <p:cNvPr id="80" name="Group 79">
                <a:extLst>
                  <a:ext uri="{FF2B5EF4-FFF2-40B4-BE49-F238E27FC236}">
                    <a16:creationId xmlns:a16="http://schemas.microsoft.com/office/drawing/2014/main" id="{2DDDF568-C137-7D4A-8E46-A7CFCF5DB50E}"/>
                  </a:ext>
                </a:extLst>
              </p:cNvPr>
              <p:cNvGrpSpPr>
                <a:grpSpLocks noChangeAspect="1"/>
              </p:cNvGrpSpPr>
              <p:nvPr/>
            </p:nvGrpSpPr>
            <p:grpSpPr>
              <a:xfrm>
                <a:off x="6698076" y="1994253"/>
                <a:ext cx="1194648" cy="1205026"/>
                <a:chOff x="12587345" y="2301556"/>
                <a:chExt cx="114999" cy="115998"/>
              </a:xfrm>
              <a:solidFill>
                <a:srgbClr val="CDEBF9"/>
              </a:solidFill>
            </p:grpSpPr>
            <p:sp>
              <p:nvSpPr>
                <p:cNvPr id="81" name="Freeform 36">
                  <a:extLst>
                    <a:ext uri="{FF2B5EF4-FFF2-40B4-BE49-F238E27FC236}">
                      <a16:creationId xmlns:a16="http://schemas.microsoft.com/office/drawing/2014/main" id="{7F2ADE8D-E298-C84B-9DD4-D50F79A137D8}"/>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2" name="Freeform 37">
                  <a:extLst>
                    <a:ext uri="{FF2B5EF4-FFF2-40B4-BE49-F238E27FC236}">
                      <a16:creationId xmlns:a16="http://schemas.microsoft.com/office/drawing/2014/main" id="{54F70283-1AB5-734A-915A-8071BCEB54EB}"/>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3" name="Freeform 38">
                  <a:extLst>
                    <a:ext uri="{FF2B5EF4-FFF2-40B4-BE49-F238E27FC236}">
                      <a16:creationId xmlns:a16="http://schemas.microsoft.com/office/drawing/2014/main" id="{09E16320-DB38-3F41-B1D1-AEA90E6EEAD9}"/>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4" name="Rectangle 39">
                  <a:extLst>
                    <a:ext uri="{FF2B5EF4-FFF2-40B4-BE49-F238E27FC236}">
                      <a16:creationId xmlns:a16="http://schemas.microsoft.com/office/drawing/2014/main" id="{6D60C4AB-1B5F-9043-B485-3DE290E52643}"/>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5" name="Rectangle 40">
                  <a:extLst>
                    <a:ext uri="{FF2B5EF4-FFF2-40B4-BE49-F238E27FC236}">
                      <a16:creationId xmlns:a16="http://schemas.microsoft.com/office/drawing/2014/main" id="{74799A28-4BBE-104E-8BFF-040B1E458873}"/>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6" name="Freeform 41">
                  <a:extLst>
                    <a:ext uri="{FF2B5EF4-FFF2-40B4-BE49-F238E27FC236}">
                      <a16:creationId xmlns:a16="http://schemas.microsoft.com/office/drawing/2014/main" id="{B8507FE7-6A4D-5E44-9BBE-DE93F33D5809}"/>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7" name="Rectangle 42">
                  <a:extLst>
                    <a:ext uri="{FF2B5EF4-FFF2-40B4-BE49-F238E27FC236}">
                      <a16:creationId xmlns:a16="http://schemas.microsoft.com/office/drawing/2014/main" id="{CF34642E-F247-F549-B7A4-E321D750A15C}"/>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8" name="Rectangle 43">
                  <a:extLst>
                    <a:ext uri="{FF2B5EF4-FFF2-40B4-BE49-F238E27FC236}">
                      <a16:creationId xmlns:a16="http://schemas.microsoft.com/office/drawing/2014/main" id="{9343513A-8004-2E44-A5FD-0F78B38F1EE0}"/>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89" name="Freeform 44">
                  <a:extLst>
                    <a:ext uri="{FF2B5EF4-FFF2-40B4-BE49-F238E27FC236}">
                      <a16:creationId xmlns:a16="http://schemas.microsoft.com/office/drawing/2014/main" id="{F56B7E93-4EF1-034D-8BC1-F0F56317143D}"/>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90" name="Freeform 45">
                  <a:extLst>
                    <a:ext uri="{FF2B5EF4-FFF2-40B4-BE49-F238E27FC236}">
                      <a16:creationId xmlns:a16="http://schemas.microsoft.com/office/drawing/2014/main" id="{0257EB1C-96A5-1F49-81E5-9A2AA64E2F50}"/>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91" name="Freeform 46">
                  <a:extLst>
                    <a:ext uri="{FF2B5EF4-FFF2-40B4-BE49-F238E27FC236}">
                      <a16:creationId xmlns:a16="http://schemas.microsoft.com/office/drawing/2014/main" id="{60F82111-1FCC-2241-BFD4-0581FAD9AE06}"/>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92" name="Freeform 47">
                  <a:extLst>
                    <a:ext uri="{FF2B5EF4-FFF2-40B4-BE49-F238E27FC236}">
                      <a16:creationId xmlns:a16="http://schemas.microsoft.com/office/drawing/2014/main" id="{43E382AF-6F9A-214B-9BAC-7F923CD0C1A8}"/>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93" name="Oval 48">
                  <a:extLst>
                    <a:ext uri="{FF2B5EF4-FFF2-40B4-BE49-F238E27FC236}">
                      <a16:creationId xmlns:a16="http://schemas.microsoft.com/office/drawing/2014/main" id="{777F985B-C2ED-234F-BB44-AC155022B8E0}"/>
                    </a:ext>
                  </a:extLst>
                </p:cNvPr>
                <p:cNvSpPr>
                  <a:spLocks noChangeAspect="1" noChangeArrowheads="1"/>
                </p:cNvSpPr>
                <p:nvPr/>
              </p:nvSpPr>
              <p:spPr bwMode="auto">
                <a:xfrm>
                  <a:off x="12627372" y="2341557"/>
                  <a:ext cx="34999" cy="35999"/>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94" name="Freeform 49">
                  <a:extLst>
                    <a:ext uri="{FF2B5EF4-FFF2-40B4-BE49-F238E27FC236}">
                      <a16:creationId xmlns:a16="http://schemas.microsoft.com/office/drawing/2014/main" id="{92BDEF1C-1859-C643-AA46-24D18D143140}"/>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grpSp>
        </p:grpSp>
      </p:grpSp>
      <p:grpSp>
        <p:nvGrpSpPr>
          <p:cNvPr id="95" name="Group 94">
            <a:extLst>
              <a:ext uri="{FF2B5EF4-FFF2-40B4-BE49-F238E27FC236}">
                <a16:creationId xmlns:a16="http://schemas.microsoft.com/office/drawing/2014/main" id="{73D7EEEB-E2CB-6343-BBB1-DF9B0DC04D9F}"/>
              </a:ext>
            </a:extLst>
          </p:cNvPr>
          <p:cNvGrpSpPr/>
          <p:nvPr/>
        </p:nvGrpSpPr>
        <p:grpSpPr>
          <a:xfrm>
            <a:off x="3442095" y="1598428"/>
            <a:ext cx="2105064" cy="2605499"/>
            <a:chOff x="756138" y="1724809"/>
            <a:chExt cx="2105064" cy="2605499"/>
          </a:xfrm>
        </p:grpSpPr>
        <p:sp>
          <p:nvSpPr>
            <p:cNvPr id="96" name="TextBox 95">
              <a:extLst>
                <a:ext uri="{FF2B5EF4-FFF2-40B4-BE49-F238E27FC236}">
                  <a16:creationId xmlns:a16="http://schemas.microsoft.com/office/drawing/2014/main" id="{E67FDB40-F8FC-3B4A-8534-C25EE598CA64}"/>
                </a:ext>
              </a:extLst>
            </p:cNvPr>
            <p:cNvSpPr txBox="1"/>
            <p:nvPr/>
          </p:nvSpPr>
          <p:spPr>
            <a:xfrm>
              <a:off x="756138" y="3683977"/>
              <a:ext cx="2105064" cy="646331"/>
            </a:xfrm>
            <a:prstGeom prst="rect">
              <a:avLst/>
            </a:prstGeom>
            <a:noFill/>
          </p:spPr>
          <p:txBody>
            <a:bodyPr wrap="none" rtlCol="0">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Intelligence driven</a:t>
              </a:r>
            </a:p>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Incident Response</a:t>
              </a:r>
            </a:p>
          </p:txBody>
        </p:sp>
        <p:grpSp>
          <p:nvGrpSpPr>
            <p:cNvPr id="97" name="Group 96">
              <a:extLst>
                <a:ext uri="{FF2B5EF4-FFF2-40B4-BE49-F238E27FC236}">
                  <a16:creationId xmlns:a16="http://schemas.microsoft.com/office/drawing/2014/main" id="{DA3B8AE8-4AD1-5745-AF7B-460B20000C1F}"/>
                </a:ext>
              </a:extLst>
            </p:cNvPr>
            <p:cNvGrpSpPr/>
            <p:nvPr/>
          </p:nvGrpSpPr>
          <p:grpSpPr>
            <a:xfrm>
              <a:off x="894269" y="1724809"/>
              <a:ext cx="1828800" cy="1828800"/>
              <a:chOff x="810322" y="1767253"/>
              <a:chExt cx="1828800" cy="1828800"/>
            </a:xfrm>
          </p:grpSpPr>
          <p:sp>
            <p:nvSpPr>
              <p:cNvPr id="98" name="Oval 97">
                <a:extLst>
                  <a:ext uri="{FF2B5EF4-FFF2-40B4-BE49-F238E27FC236}">
                    <a16:creationId xmlns:a16="http://schemas.microsoft.com/office/drawing/2014/main" id="{F8FB77E7-4BF8-184A-B982-9F9C7B84164E}"/>
                  </a:ext>
                </a:extLst>
              </p:cNvPr>
              <p:cNvSpPr/>
              <p:nvPr/>
            </p:nvSpPr>
            <p:spPr>
              <a:xfrm>
                <a:off x="810322" y="1767253"/>
                <a:ext cx="1828800" cy="1828800"/>
              </a:xfrm>
              <a:prstGeom prst="ellipse">
                <a:avLst/>
              </a:prstGeom>
              <a:solidFill>
                <a:srgbClr val="005073"/>
              </a:solidFill>
              <a:ln w="25400" cap="flat" cmpd="sng" algn="ctr">
                <a:noFill/>
                <a:prstDash val="solid"/>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grpSp>
            <p:nvGrpSpPr>
              <p:cNvPr id="99" name="Group 98">
                <a:extLst>
                  <a:ext uri="{FF2B5EF4-FFF2-40B4-BE49-F238E27FC236}">
                    <a16:creationId xmlns:a16="http://schemas.microsoft.com/office/drawing/2014/main" id="{46199DD8-5B19-0D43-B9EE-B9D3CA956064}"/>
                  </a:ext>
                </a:extLst>
              </p:cNvPr>
              <p:cNvGrpSpPr>
                <a:grpSpLocks noChangeAspect="1"/>
              </p:cNvGrpSpPr>
              <p:nvPr/>
            </p:nvGrpSpPr>
            <p:grpSpPr>
              <a:xfrm>
                <a:off x="1130002" y="2065330"/>
                <a:ext cx="1189441" cy="1232646"/>
                <a:chOff x="3492667" y="1426585"/>
                <a:chExt cx="467986" cy="484985"/>
              </a:xfrm>
            </p:grpSpPr>
            <p:sp>
              <p:nvSpPr>
                <p:cNvPr id="100" name="Freeform 597">
                  <a:extLst>
                    <a:ext uri="{FF2B5EF4-FFF2-40B4-BE49-F238E27FC236}">
                      <a16:creationId xmlns:a16="http://schemas.microsoft.com/office/drawing/2014/main" id="{8ED55796-CA65-1446-8379-7E077CDEE358}"/>
                    </a:ext>
                  </a:extLst>
                </p:cNvPr>
                <p:cNvSpPr>
                  <a:spLocks noEditPoints="1"/>
                </p:cNvSpPr>
                <p:nvPr/>
              </p:nvSpPr>
              <p:spPr bwMode="auto">
                <a:xfrm>
                  <a:off x="3492667" y="1426585"/>
                  <a:ext cx="221993" cy="484985"/>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1" name="Freeform 598">
                  <a:extLst>
                    <a:ext uri="{FF2B5EF4-FFF2-40B4-BE49-F238E27FC236}">
                      <a16:creationId xmlns:a16="http://schemas.microsoft.com/office/drawing/2014/main" id="{DDDCAB5D-FC3D-0842-B922-C0032D94D6A3}"/>
                    </a:ext>
                  </a:extLst>
                </p:cNvPr>
                <p:cNvSpPr>
                  <a:spLocks/>
                </p:cNvSpPr>
                <p:nvPr/>
              </p:nvSpPr>
              <p:spPr bwMode="auto">
                <a:xfrm>
                  <a:off x="3641663" y="1563581"/>
                  <a:ext cx="46999" cy="72998"/>
                </a:xfrm>
                <a:custGeom>
                  <a:avLst/>
                  <a:gdLst>
                    <a:gd name="T0" fmla="*/ 0 w 20"/>
                    <a:gd name="T1" fmla="*/ 5 h 31"/>
                    <a:gd name="T2" fmla="*/ 4 w 20"/>
                    <a:gd name="T3" fmla="*/ 9 h 31"/>
                    <a:gd name="T4" fmla="*/ 11 w 20"/>
                    <a:gd name="T5" fmla="*/ 16 h 31"/>
                    <a:gd name="T6" fmla="*/ 4 w 20"/>
                    <a:gd name="T7" fmla="*/ 22 h 31"/>
                    <a:gd name="T8" fmla="*/ 0 w 20"/>
                    <a:gd name="T9" fmla="*/ 27 h 31"/>
                    <a:gd name="T10" fmla="*/ 4 w 20"/>
                    <a:gd name="T11" fmla="*/ 31 h 31"/>
                    <a:gd name="T12" fmla="*/ 20 w 20"/>
                    <a:gd name="T13" fmla="*/ 16 h 31"/>
                    <a:gd name="T14" fmla="*/ 4 w 20"/>
                    <a:gd name="T15" fmla="*/ 0 h 31"/>
                    <a:gd name="T16" fmla="*/ 0 w 20"/>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1">
                      <a:moveTo>
                        <a:pt x="0" y="5"/>
                      </a:moveTo>
                      <a:cubicBezTo>
                        <a:pt x="0" y="7"/>
                        <a:pt x="2" y="9"/>
                        <a:pt x="4" y="9"/>
                      </a:cubicBezTo>
                      <a:cubicBezTo>
                        <a:pt x="8" y="9"/>
                        <a:pt x="11" y="12"/>
                        <a:pt x="11" y="16"/>
                      </a:cubicBezTo>
                      <a:cubicBezTo>
                        <a:pt x="11" y="19"/>
                        <a:pt x="8" y="22"/>
                        <a:pt x="4" y="22"/>
                      </a:cubicBezTo>
                      <a:cubicBezTo>
                        <a:pt x="2" y="22"/>
                        <a:pt x="0" y="24"/>
                        <a:pt x="0" y="27"/>
                      </a:cubicBezTo>
                      <a:cubicBezTo>
                        <a:pt x="0" y="29"/>
                        <a:pt x="2" y="31"/>
                        <a:pt x="4" y="31"/>
                      </a:cubicBezTo>
                      <a:cubicBezTo>
                        <a:pt x="13" y="31"/>
                        <a:pt x="20" y="24"/>
                        <a:pt x="20" y="16"/>
                      </a:cubicBezTo>
                      <a:cubicBezTo>
                        <a:pt x="20" y="7"/>
                        <a:pt x="13" y="0"/>
                        <a:pt x="4" y="0"/>
                      </a:cubicBezTo>
                      <a:cubicBezTo>
                        <a:pt x="2" y="0"/>
                        <a:pt x="0" y="2"/>
                        <a:pt x="0" y="5"/>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2" name="Freeform 599">
                  <a:extLst>
                    <a:ext uri="{FF2B5EF4-FFF2-40B4-BE49-F238E27FC236}">
                      <a16:creationId xmlns:a16="http://schemas.microsoft.com/office/drawing/2014/main" id="{4466BDED-5903-4E42-94A4-CD02B5EDB62E}"/>
                    </a:ext>
                  </a:extLst>
                </p:cNvPr>
                <p:cNvSpPr>
                  <a:spLocks/>
                </p:cNvSpPr>
                <p:nvPr/>
              </p:nvSpPr>
              <p:spPr bwMode="auto">
                <a:xfrm>
                  <a:off x="3596664" y="1497583"/>
                  <a:ext cx="46999" cy="49998"/>
                </a:xfrm>
                <a:custGeom>
                  <a:avLst/>
                  <a:gdLst>
                    <a:gd name="T0" fmla="*/ 20 w 20"/>
                    <a:gd name="T1" fmla="*/ 17 h 21"/>
                    <a:gd name="T2" fmla="*/ 16 w 20"/>
                    <a:gd name="T3" fmla="*/ 12 h 21"/>
                    <a:gd name="T4" fmla="*/ 8 w 20"/>
                    <a:gd name="T5" fmla="*/ 5 h 21"/>
                    <a:gd name="T6" fmla="*/ 4 w 20"/>
                    <a:gd name="T7" fmla="*/ 0 h 21"/>
                    <a:gd name="T8" fmla="*/ 0 w 20"/>
                    <a:gd name="T9" fmla="*/ 5 h 21"/>
                    <a:gd name="T10" fmla="*/ 16 w 20"/>
                    <a:gd name="T11" fmla="*/ 21 h 21"/>
                    <a:gd name="T12" fmla="*/ 20 w 20"/>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20" y="17"/>
                      </a:moveTo>
                      <a:cubicBezTo>
                        <a:pt x="20" y="14"/>
                        <a:pt x="18" y="12"/>
                        <a:pt x="16" y="12"/>
                      </a:cubicBezTo>
                      <a:cubicBezTo>
                        <a:pt x="12" y="12"/>
                        <a:pt x="8" y="9"/>
                        <a:pt x="8" y="5"/>
                      </a:cubicBezTo>
                      <a:cubicBezTo>
                        <a:pt x="8" y="2"/>
                        <a:pt x="6" y="0"/>
                        <a:pt x="4" y="0"/>
                      </a:cubicBezTo>
                      <a:cubicBezTo>
                        <a:pt x="2" y="0"/>
                        <a:pt x="0" y="2"/>
                        <a:pt x="0" y="5"/>
                      </a:cubicBezTo>
                      <a:cubicBezTo>
                        <a:pt x="0" y="14"/>
                        <a:pt x="7" y="21"/>
                        <a:pt x="16" y="21"/>
                      </a:cubicBezTo>
                      <a:cubicBezTo>
                        <a:pt x="18" y="21"/>
                        <a:pt x="20" y="19"/>
                        <a:pt x="20" y="1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3" name="Freeform 600">
                  <a:extLst>
                    <a:ext uri="{FF2B5EF4-FFF2-40B4-BE49-F238E27FC236}">
                      <a16:creationId xmlns:a16="http://schemas.microsoft.com/office/drawing/2014/main" id="{C0BC05C1-AFD3-024F-B236-FF4408CA5A94}"/>
                    </a:ext>
                  </a:extLst>
                </p:cNvPr>
                <p:cNvSpPr>
                  <a:spLocks/>
                </p:cNvSpPr>
                <p:nvPr/>
              </p:nvSpPr>
              <p:spPr bwMode="auto">
                <a:xfrm>
                  <a:off x="3551665" y="1710576"/>
                  <a:ext cx="46999" cy="48999"/>
                </a:xfrm>
                <a:custGeom>
                  <a:avLst/>
                  <a:gdLst>
                    <a:gd name="T0" fmla="*/ 4 w 20"/>
                    <a:gd name="T1" fmla="*/ 21 h 21"/>
                    <a:gd name="T2" fmla="*/ 8 w 20"/>
                    <a:gd name="T3" fmla="*/ 16 h 21"/>
                    <a:gd name="T4" fmla="*/ 16 w 20"/>
                    <a:gd name="T5" fmla="*/ 9 h 21"/>
                    <a:gd name="T6" fmla="*/ 20 w 20"/>
                    <a:gd name="T7" fmla="*/ 4 h 21"/>
                    <a:gd name="T8" fmla="*/ 16 w 20"/>
                    <a:gd name="T9" fmla="*/ 0 h 21"/>
                    <a:gd name="T10" fmla="*/ 0 w 20"/>
                    <a:gd name="T11" fmla="*/ 16 h 21"/>
                    <a:gd name="T12" fmla="*/ 4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4" y="21"/>
                      </a:moveTo>
                      <a:cubicBezTo>
                        <a:pt x="6" y="21"/>
                        <a:pt x="8" y="19"/>
                        <a:pt x="8" y="16"/>
                      </a:cubicBezTo>
                      <a:cubicBezTo>
                        <a:pt x="8" y="12"/>
                        <a:pt x="12" y="9"/>
                        <a:pt x="16" y="9"/>
                      </a:cubicBezTo>
                      <a:cubicBezTo>
                        <a:pt x="18" y="9"/>
                        <a:pt x="20" y="7"/>
                        <a:pt x="20" y="4"/>
                      </a:cubicBezTo>
                      <a:cubicBezTo>
                        <a:pt x="20" y="2"/>
                        <a:pt x="18" y="0"/>
                        <a:pt x="16" y="0"/>
                      </a:cubicBezTo>
                      <a:cubicBezTo>
                        <a:pt x="7" y="0"/>
                        <a:pt x="0" y="7"/>
                        <a:pt x="0" y="16"/>
                      </a:cubicBezTo>
                      <a:cubicBezTo>
                        <a:pt x="0" y="19"/>
                        <a:pt x="1" y="21"/>
                        <a:pt x="4" y="2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4" name="Freeform 601">
                  <a:extLst>
                    <a:ext uri="{FF2B5EF4-FFF2-40B4-BE49-F238E27FC236}">
                      <a16:creationId xmlns:a16="http://schemas.microsoft.com/office/drawing/2014/main" id="{8163848A-C58F-704B-B65B-696EBFD03A77}"/>
                    </a:ext>
                  </a:extLst>
                </p:cNvPr>
                <p:cNvSpPr>
                  <a:spLocks/>
                </p:cNvSpPr>
                <p:nvPr/>
              </p:nvSpPr>
              <p:spPr bwMode="auto">
                <a:xfrm>
                  <a:off x="3612663" y="1710576"/>
                  <a:ext cx="75998" cy="22999"/>
                </a:xfrm>
                <a:custGeom>
                  <a:avLst/>
                  <a:gdLst>
                    <a:gd name="T0" fmla="*/ 4 w 32"/>
                    <a:gd name="T1" fmla="*/ 10 h 10"/>
                    <a:gd name="T2" fmla="*/ 28 w 32"/>
                    <a:gd name="T3" fmla="*/ 10 h 10"/>
                    <a:gd name="T4" fmla="*/ 32 w 32"/>
                    <a:gd name="T5" fmla="*/ 5 h 10"/>
                    <a:gd name="T6" fmla="*/ 28 w 32"/>
                    <a:gd name="T7" fmla="*/ 0 h 10"/>
                    <a:gd name="T8" fmla="*/ 4 w 32"/>
                    <a:gd name="T9" fmla="*/ 0 h 10"/>
                    <a:gd name="T10" fmla="*/ 0 w 32"/>
                    <a:gd name="T11" fmla="*/ 5 h 10"/>
                    <a:gd name="T12" fmla="*/ 4 w 3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4" y="10"/>
                      </a:moveTo>
                      <a:cubicBezTo>
                        <a:pt x="28" y="10"/>
                        <a:pt x="28" y="10"/>
                        <a:pt x="28" y="10"/>
                      </a:cubicBezTo>
                      <a:cubicBezTo>
                        <a:pt x="30" y="10"/>
                        <a:pt x="32" y="7"/>
                        <a:pt x="32" y="5"/>
                      </a:cubicBezTo>
                      <a:cubicBezTo>
                        <a:pt x="32" y="2"/>
                        <a:pt x="30" y="0"/>
                        <a:pt x="28" y="0"/>
                      </a:cubicBezTo>
                      <a:cubicBezTo>
                        <a:pt x="4" y="0"/>
                        <a:pt x="4" y="0"/>
                        <a:pt x="4" y="0"/>
                      </a:cubicBezTo>
                      <a:cubicBezTo>
                        <a:pt x="2" y="0"/>
                        <a:pt x="0" y="2"/>
                        <a:pt x="0" y="5"/>
                      </a:cubicBezTo>
                      <a:cubicBezTo>
                        <a:pt x="0" y="7"/>
                        <a:pt x="2" y="10"/>
                        <a:pt x="4" y="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5" name="Freeform 602">
                  <a:extLst>
                    <a:ext uri="{FF2B5EF4-FFF2-40B4-BE49-F238E27FC236}">
                      <a16:creationId xmlns:a16="http://schemas.microsoft.com/office/drawing/2014/main" id="{CECCA138-69C2-F84D-9CA5-6CA8668E23EB}"/>
                    </a:ext>
                  </a:extLst>
                </p:cNvPr>
                <p:cNvSpPr>
                  <a:spLocks noEditPoints="1"/>
                </p:cNvSpPr>
                <p:nvPr/>
              </p:nvSpPr>
              <p:spPr bwMode="auto">
                <a:xfrm>
                  <a:off x="3737660" y="1426585"/>
                  <a:ext cx="222993" cy="484985"/>
                </a:xfrm>
                <a:custGeom>
                  <a:avLst/>
                  <a:gdLst>
                    <a:gd name="T0" fmla="*/ 0 w 94"/>
                    <a:gd name="T1" fmla="*/ 183 h 205"/>
                    <a:gd name="T2" fmla="*/ 19 w 94"/>
                    <a:gd name="T3" fmla="*/ 205 h 205"/>
                    <a:gd name="T4" fmla="*/ 47 w 94"/>
                    <a:gd name="T5" fmla="*/ 194 h 205"/>
                    <a:gd name="T6" fmla="*/ 71 w 94"/>
                    <a:gd name="T7" fmla="*/ 178 h 205"/>
                    <a:gd name="T8" fmla="*/ 89 w 94"/>
                    <a:gd name="T9" fmla="*/ 147 h 205"/>
                    <a:gd name="T10" fmla="*/ 94 w 94"/>
                    <a:gd name="T11" fmla="*/ 120 h 205"/>
                    <a:gd name="T12" fmla="*/ 92 w 94"/>
                    <a:gd name="T13" fmla="*/ 100 h 205"/>
                    <a:gd name="T14" fmla="*/ 93 w 94"/>
                    <a:gd name="T15" fmla="*/ 91 h 205"/>
                    <a:gd name="T16" fmla="*/ 94 w 94"/>
                    <a:gd name="T17" fmla="*/ 90 h 205"/>
                    <a:gd name="T18" fmla="*/ 94 w 94"/>
                    <a:gd name="T19" fmla="*/ 89 h 205"/>
                    <a:gd name="T20" fmla="*/ 85 w 94"/>
                    <a:gd name="T21" fmla="*/ 59 h 205"/>
                    <a:gd name="T22" fmla="*/ 72 w 94"/>
                    <a:gd name="T23" fmla="*/ 36 h 205"/>
                    <a:gd name="T24" fmla="*/ 46 w 94"/>
                    <a:gd name="T25" fmla="*/ 11 h 205"/>
                    <a:gd name="T26" fmla="*/ 6 w 94"/>
                    <a:gd name="T27" fmla="*/ 7 h 205"/>
                    <a:gd name="T28" fmla="*/ 19 w 94"/>
                    <a:gd name="T29" fmla="*/ 44 h 205"/>
                    <a:gd name="T30" fmla="*/ 7 w 94"/>
                    <a:gd name="T31" fmla="*/ 27 h 205"/>
                    <a:gd name="T32" fmla="*/ 36 w 94"/>
                    <a:gd name="T33" fmla="*/ 13 h 205"/>
                    <a:gd name="T34" fmla="*/ 26 w 94"/>
                    <a:gd name="T35" fmla="*/ 31 h 205"/>
                    <a:gd name="T36" fmla="*/ 46 w 94"/>
                    <a:gd name="T37" fmla="*/ 20 h 205"/>
                    <a:gd name="T38" fmla="*/ 63 w 94"/>
                    <a:gd name="T39" fmla="*/ 34 h 205"/>
                    <a:gd name="T40" fmla="*/ 62 w 94"/>
                    <a:gd name="T41" fmla="*/ 40 h 205"/>
                    <a:gd name="T42" fmla="*/ 76 w 94"/>
                    <a:gd name="T43" fmla="*/ 59 h 205"/>
                    <a:gd name="T44" fmla="*/ 65 w 94"/>
                    <a:gd name="T45" fmla="*/ 61 h 205"/>
                    <a:gd name="T46" fmla="*/ 37 w 94"/>
                    <a:gd name="T47" fmla="*/ 91 h 205"/>
                    <a:gd name="T48" fmla="*/ 45 w 94"/>
                    <a:gd name="T49" fmla="*/ 88 h 205"/>
                    <a:gd name="T50" fmla="*/ 85 w 94"/>
                    <a:gd name="T51" fmla="*/ 89 h 205"/>
                    <a:gd name="T52" fmla="*/ 80 w 94"/>
                    <a:gd name="T53" fmla="*/ 108 h 205"/>
                    <a:gd name="T54" fmla="*/ 79 w 94"/>
                    <a:gd name="T55" fmla="*/ 132 h 205"/>
                    <a:gd name="T56" fmla="*/ 80 w 94"/>
                    <a:gd name="T57" fmla="*/ 147 h 205"/>
                    <a:gd name="T58" fmla="*/ 64 w 94"/>
                    <a:gd name="T59" fmla="*/ 168 h 205"/>
                    <a:gd name="T60" fmla="*/ 47 w 94"/>
                    <a:gd name="T61" fmla="*/ 185 h 205"/>
                    <a:gd name="T62" fmla="*/ 40 w 94"/>
                    <a:gd name="T63" fmla="*/ 184 h 205"/>
                    <a:gd name="T64" fmla="*/ 32 w 94"/>
                    <a:gd name="T65" fmla="*/ 162 h 205"/>
                    <a:gd name="T66" fmla="*/ 29 w 94"/>
                    <a:gd name="T67" fmla="*/ 157 h 205"/>
                    <a:gd name="T68" fmla="*/ 22 w 94"/>
                    <a:gd name="T69" fmla="*/ 169 h 205"/>
                    <a:gd name="T70" fmla="*/ 20 w 94"/>
                    <a:gd name="T71" fmla="*/ 197 h 205"/>
                    <a:gd name="T72" fmla="*/ 7 w 94"/>
                    <a:gd name="T73" fmla="*/ 146 h 205"/>
                    <a:gd name="T74" fmla="*/ 45 w 94"/>
                    <a:gd name="T75" fmla="*/ 160 h 205"/>
                    <a:gd name="T76" fmla="*/ 54 w 94"/>
                    <a:gd name="T77" fmla="*/ 160 h 205"/>
                    <a:gd name="T78" fmla="*/ 7 w 94"/>
                    <a:gd name="T79" fmla="*/ 137 h 205"/>
                    <a:gd name="T80" fmla="*/ 47 w 94"/>
                    <a:gd name="T81" fmla="*/ 112 h 205"/>
                    <a:gd name="T82" fmla="*/ 64 w 94"/>
                    <a:gd name="T83" fmla="*/ 84 h 205"/>
                    <a:gd name="T84" fmla="*/ 46 w 94"/>
                    <a:gd name="T85" fmla="*/ 103 h 205"/>
                    <a:gd name="T86" fmla="*/ 7 w 94"/>
                    <a:gd name="T87" fmla="*/ 53 h 205"/>
                    <a:gd name="T88" fmla="*/ 23 w 94"/>
                    <a:gd name="T89"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0" y="27"/>
                      </a:moveTo>
                      <a:cubicBezTo>
                        <a:pt x="0" y="183"/>
                        <a:pt x="0" y="183"/>
                        <a:pt x="0" y="183"/>
                      </a:cubicBezTo>
                      <a:cubicBezTo>
                        <a:pt x="0" y="189"/>
                        <a:pt x="1" y="195"/>
                        <a:pt x="5" y="199"/>
                      </a:cubicBezTo>
                      <a:cubicBezTo>
                        <a:pt x="9" y="203"/>
                        <a:pt x="13" y="205"/>
                        <a:pt x="19" y="205"/>
                      </a:cubicBezTo>
                      <a:cubicBezTo>
                        <a:pt x="28" y="205"/>
                        <a:pt x="35" y="201"/>
                        <a:pt x="41" y="194"/>
                      </a:cubicBezTo>
                      <a:cubicBezTo>
                        <a:pt x="43" y="194"/>
                        <a:pt x="45" y="194"/>
                        <a:pt x="47" y="194"/>
                      </a:cubicBezTo>
                      <a:cubicBezTo>
                        <a:pt x="57" y="194"/>
                        <a:pt x="66" y="188"/>
                        <a:pt x="70" y="179"/>
                      </a:cubicBezTo>
                      <a:cubicBezTo>
                        <a:pt x="71" y="178"/>
                        <a:pt x="71" y="178"/>
                        <a:pt x="71" y="178"/>
                      </a:cubicBezTo>
                      <a:cubicBezTo>
                        <a:pt x="72" y="176"/>
                        <a:pt x="72" y="174"/>
                        <a:pt x="72" y="171"/>
                      </a:cubicBezTo>
                      <a:cubicBezTo>
                        <a:pt x="82" y="167"/>
                        <a:pt x="89" y="157"/>
                        <a:pt x="89" y="147"/>
                      </a:cubicBezTo>
                      <a:cubicBezTo>
                        <a:pt x="89" y="143"/>
                        <a:pt x="88" y="140"/>
                        <a:pt x="87" y="137"/>
                      </a:cubicBezTo>
                      <a:cubicBezTo>
                        <a:pt x="91" y="132"/>
                        <a:pt x="94" y="126"/>
                        <a:pt x="94" y="120"/>
                      </a:cubicBezTo>
                      <a:cubicBezTo>
                        <a:pt x="94" y="114"/>
                        <a:pt x="92" y="109"/>
                        <a:pt x="89" y="105"/>
                      </a:cubicBezTo>
                      <a:cubicBezTo>
                        <a:pt x="90" y="103"/>
                        <a:pt x="91" y="102"/>
                        <a:pt x="92" y="100"/>
                      </a:cubicBezTo>
                      <a:cubicBezTo>
                        <a:pt x="92" y="99"/>
                        <a:pt x="92" y="99"/>
                        <a:pt x="92" y="99"/>
                      </a:cubicBezTo>
                      <a:cubicBezTo>
                        <a:pt x="93" y="97"/>
                        <a:pt x="93" y="94"/>
                        <a:pt x="93" y="91"/>
                      </a:cubicBezTo>
                      <a:cubicBezTo>
                        <a:pt x="94" y="91"/>
                        <a:pt x="94" y="91"/>
                        <a:pt x="94" y="91"/>
                      </a:cubicBezTo>
                      <a:cubicBezTo>
                        <a:pt x="94" y="90"/>
                        <a:pt x="94" y="90"/>
                        <a:pt x="94" y="90"/>
                      </a:cubicBezTo>
                      <a:cubicBezTo>
                        <a:pt x="94" y="90"/>
                        <a:pt x="94" y="90"/>
                        <a:pt x="94" y="90"/>
                      </a:cubicBezTo>
                      <a:cubicBezTo>
                        <a:pt x="94" y="89"/>
                        <a:pt x="94" y="89"/>
                        <a:pt x="94" y="89"/>
                      </a:cubicBezTo>
                      <a:cubicBezTo>
                        <a:pt x="94" y="81"/>
                        <a:pt x="90" y="73"/>
                        <a:pt x="83" y="67"/>
                      </a:cubicBezTo>
                      <a:cubicBezTo>
                        <a:pt x="84" y="64"/>
                        <a:pt x="85" y="62"/>
                        <a:pt x="85" y="59"/>
                      </a:cubicBezTo>
                      <a:cubicBezTo>
                        <a:pt x="85" y="50"/>
                        <a:pt x="80" y="41"/>
                        <a:pt x="72" y="38"/>
                      </a:cubicBezTo>
                      <a:cubicBezTo>
                        <a:pt x="72" y="37"/>
                        <a:pt x="72" y="37"/>
                        <a:pt x="72" y="36"/>
                      </a:cubicBezTo>
                      <a:cubicBezTo>
                        <a:pt x="72" y="22"/>
                        <a:pt x="60" y="11"/>
                        <a:pt x="46" y="11"/>
                      </a:cubicBezTo>
                      <a:cubicBezTo>
                        <a:pt x="46" y="11"/>
                        <a:pt x="46" y="11"/>
                        <a:pt x="46" y="11"/>
                      </a:cubicBezTo>
                      <a:cubicBezTo>
                        <a:pt x="41" y="4"/>
                        <a:pt x="34" y="0"/>
                        <a:pt x="25" y="0"/>
                      </a:cubicBezTo>
                      <a:cubicBezTo>
                        <a:pt x="18" y="0"/>
                        <a:pt x="11" y="2"/>
                        <a:pt x="6" y="7"/>
                      </a:cubicBezTo>
                      <a:cubicBezTo>
                        <a:pt x="1" y="12"/>
                        <a:pt x="0" y="19"/>
                        <a:pt x="0" y="27"/>
                      </a:cubicBezTo>
                      <a:close/>
                      <a:moveTo>
                        <a:pt x="19" y="44"/>
                      </a:moveTo>
                      <a:cubicBezTo>
                        <a:pt x="7" y="44"/>
                        <a:pt x="7" y="44"/>
                        <a:pt x="7" y="44"/>
                      </a:cubicBezTo>
                      <a:cubicBezTo>
                        <a:pt x="7" y="27"/>
                        <a:pt x="7" y="27"/>
                        <a:pt x="7" y="27"/>
                      </a:cubicBezTo>
                      <a:cubicBezTo>
                        <a:pt x="7" y="16"/>
                        <a:pt x="15" y="8"/>
                        <a:pt x="25" y="8"/>
                      </a:cubicBezTo>
                      <a:cubicBezTo>
                        <a:pt x="29" y="8"/>
                        <a:pt x="33" y="10"/>
                        <a:pt x="36" y="13"/>
                      </a:cubicBezTo>
                      <a:cubicBezTo>
                        <a:pt x="31" y="15"/>
                        <a:pt x="26" y="20"/>
                        <a:pt x="24" y="25"/>
                      </a:cubicBezTo>
                      <a:cubicBezTo>
                        <a:pt x="23" y="27"/>
                        <a:pt x="23" y="30"/>
                        <a:pt x="26" y="31"/>
                      </a:cubicBezTo>
                      <a:cubicBezTo>
                        <a:pt x="28" y="32"/>
                        <a:pt x="30" y="31"/>
                        <a:pt x="31" y="29"/>
                      </a:cubicBezTo>
                      <a:cubicBezTo>
                        <a:pt x="34" y="23"/>
                        <a:pt x="40" y="20"/>
                        <a:pt x="46" y="20"/>
                      </a:cubicBezTo>
                      <a:cubicBezTo>
                        <a:pt x="55" y="20"/>
                        <a:pt x="62" y="26"/>
                        <a:pt x="63" y="34"/>
                      </a:cubicBezTo>
                      <a:cubicBezTo>
                        <a:pt x="63" y="34"/>
                        <a:pt x="63" y="34"/>
                        <a:pt x="63" y="34"/>
                      </a:cubicBezTo>
                      <a:cubicBezTo>
                        <a:pt x="63" y="35"/>
                        <a:pt x="63" y="36"/>
                        <a:pt x="63" y="36"/>
                      </a:cubicBezTo>
                      <a:cubicBezTo>
                        <a:pt x="63" y="38"/>
                        <a:pt x="63" y="39"/>
                        <a:pt x="62" y="40"/>
                      </a:cubicBezTo>
                      <a:cubicBezTo>
                        <a:pt x="62" y="42"/>
                        <a:pt x="63" y="44"/>
                        <a:pt x="66" y="45"/>
                      </a:cubicBezTo>
                      <a:cubicBezTo>
                        <a:pt x="72" y="47"/>
                        <a:pt x="76" y="52"/>
                        <a:pt x="76" y="59"/>
                      </a:cubicBezTo>
                      <a:cubicBezTo>
                        <a:pt x="76" y="60"/>
                        <a:pt x="76" y="61"/>
                        <a:pt x="76" y="63"/>
                      </a:cubicBezTo>
                      <a:cubicBezTo>
                        <a:pt x="72" y="61"/>
                        <a:pt x="69" y="61"/>
                        <a:pt x="65" y="61"/>
                      </a:cubicBezTo>
                      <a:cubicBezTo>
                        <a:pt x="50" y="61"/>
                        <a:pt x="37" y="72"/>
                        <a:pt x="36" y="88"/>
                      </a:cubicBezTo>
                      <a:cubicBezTo>
                        <a:pt x="36" y="89"/>
                        <a:pt x="37" y="90"/>
                        <a:pt x="37" y="91"/>
                      </a:cubicBezTo>
                      <a:cubicBezTo>
                        <a:pt x="38" y="92"/>
                        <a:pt x="39" y="92"/>
                        <a:pt x="40" y="92"/>
                      </a:cubicBezTo>
                      <a:cubicBezTo>
                        <a:pt x="43" y="92"/>
                        <a:pt x="45" y="91"/>
                        <a:pt x="45" y="88"/>
                      </a:cubicBezTo>
                      <a:cubicBezTo>
                        <a:pt x="45" y="78"/>
                        <a:pt x="54" y="69"/>
                        <a:pt x="65" y="69"/>
                      </a:cubicBezTo>
                      <a:cubicBezTo>
                        <a:pt x="76" y="69"/>
                        <a:pt x="85" y="78"/>
                        <a:pt x="85" y="89"/>
                      </a:cubicBezTo>
                      <a:cubicBezTo>
                        <a:pt x="85" y="94"/>
                        <a:pt x="83" y="99"/>
                        <a:pt x="80" y="102"/>
                      </a:cubicBezTo>
                      <a:cubicBezTo>
                        <a:pt x="79" y="104"/>
                        <a:pt x="79" y="106"/>
                        <a:pt x="80" y="108"/>
                      </a:cubicBezTo>
                      <a:cubicBezTo>
                        <a:pt x="83" y="111"/>
                        <a:pt x="85" y="115"/>
                        <a:pt x="85" y="120"/>
                      </a:cubicBezTo>
                      <a:cubicBezTo>
                        <a:pt x="85" y="125"/>
                        <a:pt x="83" y="129"/>
                        <a:pt x="79" y="132"/>
                      </a:cubicBezTo>
                      <a:cubicBezTo>
                        <a:pt x="77" y="134"/>
                        <a:pt x="77" y="136"/>
                        <a:pt x="78" y="138"/>
                      </a:cubicBezTo>
                      <a:cubicBezTo>
                        <a:pt x="79" y="141"/>
                        <a:pt x="80" y="144"/>
                        <a:pt x="80" y="147"/>
                      </a:cubicBezTo>
                      <a:cubicBezTo>
                        <a:pt x="80" y="154"/>
                        <a:pt x="75" y="162"/>
                        <a:pt x="67" y="164"/>
                      </a:cubicBezTo>
                      <a:cubicBezTo>
                        <a:pt x="65" y="164"/>
                        <a:pt x="64" y="166"/>
                        <a:pt x="64" y="168"/>
                      </a:cubicBezTo>
                      <a:cubicBezTo>
                        <a:pt x="64" y="169"/>
                        <a:pt x="64" y="169"/>
                        <a:pt x="64" y="169"/>
                      </a:cubicBezTo>
                      <a:cubicBezTo>
                        <a:pt x="64" y="178"/>
                        <a:pt x="56" y="185"/>
                        <a:pt x="47" y="185"/>
                      </a:cubicBezTo>
                      <a:cubicBezTo>
                        <a:pt x="45" y="185"/>
                        <a:pt x="43" y="185"/>
                        <a:pt x="41" y="184"/>
                      </a:cubicBezTo>
                      <a:cubicBezTo>
                        <a:pt x="40" y="184"/>
                        <a:pt x="40" y="184"/>
                        <a:pt x="40" y="184"/>
                      </a:cubicBezTo>
                      <a:cubicBezTo>
                        <a:pt x="34" y="181"/>
                        <a:pt x="30" y="175"/>
                        <a:pt x="30" y="169"/>
                      </a:cubicBezTo>
                      <a:cubicBezTo>
                        <a:pt x="30" y="167"/>
                        <a:pt x="31" y="164"/>
                        <a:pt x="32" y="162"/>
                      </a:cubicBezTo>
                      <a:cubicBezTo>
                        <a:pt x="32" y="161"/>
                        <a:pt x="32" y="160"/>
                        <a:pt x="32" y="159"/>
                      </a:cubicBezTo>
                      <a:cubicBezTo>
                        <a:pt x="31" y="158"/>
                        <a:pt x="30" y="157"/>
                        <a:pt x="29" y="157"/>
                      </a:cubicBezTo>
                      <a:cubicBezTo>
                        <a:pt x="27" y="156"/>
                        <a:pt x="25" y="157"/>
                        <a:pt x="24" y="159"/>
                      </a:cubicBezTo>
                      <a:cubicBezTo>
                        <a:pt x="22" y="162"/>
                        <a:pt x="22" y="165"/>
                        <a:pt x="22" y="169"/>
                      </a:cubicBezTo>
                      <a:cubicBezTo>
                        <a:pt x="22" y="177"/>
                        <a:pt x="26" y="185"/>
                        <a:pt x="33" y="190"/>
                      </a:cubicBezTo>
                      <a:cubicBezTo>
                        <a:pt x="29" y="194"/>
                        <a:pt x="25" y="197"/>
                        <a:pt x="20" y="197"/>
                      </a:cubicBezTo>
                      <a:cubicBezTo>
                        <a:pt x="13" y="197"/>
                        <a:pt x="7" y="191"/>
                        <a:pt x="7" y="183"/>
                      </a:cubicBezTo>
                      <a:cubicBezTo>
                        <a:pt x="7" y="146"/>
                        <a:pt x="7" y="146"/>
                        <a:pt x="7" y="146"/>
                      </a:cubicBezTo>
                      <a:cubicBezTo>
                        <a:pt x="7" y="146"/>
                        <a:pt x="23" y="146"/>
                        <a:pt x="31" y="146"/>
                      </a:cubicBezTo>
                      <a:cubicBezTo>
                        <a:pt x="39" y="146"/>
                        <a:pt x="45" y="152"/>
                        <a:pt x="45" y="160"/>
                      </a:cubicBezTo>
                      <a:cubicBezTo>
                        <a:pt x="45" y="162"/>
                        <a:pt x="47" y="164"/>
                        <a:pt x="50" y="164"/>
                      </a:cubicBezTo>
                      <a:cubicBezTo>
                        <a:pt x="52" y="164"/>
                        <a:pt x="54" y="162"/>
                        <a:pt x="54" y="160"/>
                      </a:cubicBezTo>
                      <a:cubicBezTo>
                        <a:pt x="54" y="147"/>
                        <a:pt x="44" y="137"/>
                        <a:pt x="31" y="137"/>
                      </a:cubicBezTo>
                      <a:cubicBezTo>
                        <a:pt x="19" y="137"/>
                        <a:pt x="7" y="137"/>
                        <a:pt x="7" y="137"/>
                      </a:cubicBezTo>
                      <a:cubicBezTo>
                        <a:pt x="7" y="113"/>
                        <a:pt x="7" y="113"/>
                        <a:pt x="7" y="113"/>
                      </a:cubicBezTo>
                      <a:cubicBezTo>
                        <a:pt x="7" y="113"/>
                        <a:pt x="35" y="112"/>
                        <a:pt x="47" y="112"/>
                      </a:cubicBezTo>
                      <a:cubicBezTo>
                        <a:pt x="59" y="112"/>
                        <a:pt x="69" y="101"/>
                        <a:pt x="69" y="89"/>
                      </a:cubicBezTo>
                      <a:cubicBezTo>
                        <a:pt x="69" y="86"/>
                        <a:pt x="67" y="84"/>
                        <a:pt x="64" y="84"/>
                      </a:cubicBezTo>
                      <a:cubicBezTo>
                        <a:pt x="62" y="84"/>
                        <a:pt x="60" y="86"/>
                        <a:pt x="60" y="89"/>
                      </a:cubicBezTo>
                      <a:cubicBezTo>
                        <a:pt x="60" y="97"/>
                        <a:pt x="54" y="103"/>
                        <a:pt x="46" y="103"/>
                      </a:cubicBezTo>
                      <a:cubicBezTo>
                        <a:pt x="38" y="103"/>
                        <a:pt x="7" y="103"/>
                        <a:pt x="7" y="103"/>
                      </a:cubicBezTo>
                      <a:cubicBezTo>
                        <a:pt x="7" y="53"/>
                        <a:pt x="7" y="53"/>
                        <a:pt x="7" y="53"/>
                      </a:cubicBezTo>
                      <a:cubicBezTo>
                        <a:pt x="19" y="53"/>
                        <a:pt x="19" y="53"/>
                        <a:pt x="19" y="53"/>
                      </a:cubicBezTo>
                      <a:cubicBezTo>
                        <a:pt x="21" y="53"/>
                        <a:pt x="23" y="51"/>
                        <a:pt x="23" y="48"/>
                      </a:cubicBezTo>
                      <a:cubicBezTo>
                        <a:pt x="23" y="46"/>
                        <a:pt x="21" y="44"/>
                        <a:pt x="19" y="4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6" name="Freeform 603">
                  <a:extLst>
                    <a:ext uri="{FF2B5EF4-FFF2-40B4-BE49-F238E27FC236}">
                      <a16:creationId xmlns:a16="http://schemas.microsoft.com/office/drawing/2014/main" id="{88CAE289-441E-9A44-A2A3-3AFD42082E12}"/>
                    </a:ext>
                  </a:extLst>
                </p:cNvPr>
                <p:cNvSpPr>
                  <a:spLocks/>
                </p:cNvSpPr>
                <p:nvPr/>
              </p:nvSpPr>
              <p:spPr bwMode="auto">
                <a:xfrm>
                  <a:off x="3763659" y="1563581"/>
                  <a:ext cx="44999" cy="72998"/>
                </a:xfrm>
                <a:custGeom>
                  <a:avLst/>
                  <a:gdLst>
                    <a:gd name="T0" fmla="*/ 19 w 19"/>
                    <a:gd name="T1" fmla="*/ 5 h 31"/>
                    <a:gd name="T2" fmla="*/ 15 w 19"/>
                    <a:gd name="T3" fmla="*/ 9 h 31"/>
                    <a:gd name="T4" fmla="*/ 8 w 19"/>
                    <a:gd name="T5" fmla="*/ 16 h 31"/>
                    <a:gd name="T6" fmla="*/ 15 w 19"/>
                    <a:gd name="T7" fmla="*/ 22 h 31"/>
                    <a:gd name="T8" fmla="*/ 19 w 19"/>
                    <a:gd name="T9" fmla="*/ 27 h 31"/>
                    <a:gd name="T10" fmla="*/ 15 w 19"/>
                    <a:gd name="T11" fmla="*/ 31 h 31"/>
                    <a:gd name="T12" fmla="*/ 0 w 19"/>
                    <a:gd name="T13" fmla="*/ 16 h 31"/>
                    <a:gd name="T14" fmla="*/ 15 w 19"/>
                    <a:gd name="T15" fmla="*/ 0 h 31"/>
                    <a:gd name="T16" fmla="*/ 19 w 19"/>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5"/>
                      </a:moveTo>
                      <a:cubicBezTo>
                        <a:pt x="19" y="7"/>
                        <a:pt x="18" y="9"/>
                        <a:pt x="15" y="9"/>
                      </a:cubicBezTo>
                      <a:cubicBezTo>
                        <a:pt x="11" y="9"/>
                        <a:pt x="8" y="12"/>
                        <a:pt x="8" y="16"/>
                      </a:cubicBezTo>
                      <a:cubicBezTo>
                        <a:pt x="8" y="19"/>
                        <a:pt x="11" y="22"/>
                        <a:pt x="15" y="22"/>
                      </a:cubicBezTo>
                      <a:cubicBezTo>
                        <a:pt x="18" y="22"/>
                        <a:pt x="19" y="24"/>
                        <a:pt x="19" y="27"/>
                      </a:cubicBezTo>
                      <a:cubicBezTo>
                        <a:pt x="19" y="29"/>
                        <a:pt x="18" y="31"/>
                        <a:pt x="15" y="31"/>
                      </a:cubicBezTo>
                      <a:cubicBezTo>
                        <a:pt x="7" y="31"/>
                        <a:pt x="0" y="24"/>
                        <a:pt x="0" y="16"/>
                      </a:cubicBezTo>
                      <a:cubicBezTo>
                        <a:pt x="0" y="7"/>
                        <a:pt x="7" y="0"/>
                        <a:pt x="15" y="0"/>
                      </a:cubicBezTo>
                      <a:cubicBezTo>
                        <a:pt x="18" y="0"/>
                        <a:pt x="19" y="2"/>
                        <a:pt x="19" y="5"/>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7" name="Freeform 604">
                  <a:extLst>
                    <a:ext uri="{FF2B5EF4-FFF2-40B4-BE49-F238E27FC236}">
                      <a16:creationId xmlns:a16="http://schemas.microsoft.com/office/drawing/2014/main" id="{58C73D75-5B70-224D-8477-1B8A61730001}"/>
                    </a:ext>
                  </a:extLst>
                </p:cNvPr>
                <p:cNvSpPr>
                  <a:spLocks/>
                </p:cNvSpPr>
                <p:nvPr/>
              </p:nvSpPr>
              <p:spPr bwMode="auto">
                <a:xfrm>
                  <a:off x="3806658" y="1497583"/>
                  <a:ext cx="49998" cy="49998"/>
                </a:xfrm>
                <a:custGeom>
                  <a:avLst/>
                  <a:gdLst>
                    <a:gd name="T0" fmla="*/ 0 w 21"/>
                    <a:gd name="T1" fmla="*/ 17 h 21"/>
                    <a:gd name="T2" fmla="*/ 5 w 21"/>
                    <a:gd name="T3" fmla="*/ 12 h 21"/>
                    <a:gd name="T4" fmla="*/ 12 w 21"/>
                    <a:gd name="T5" fmla="*/ 5 h 21"/>
                    <a:gd name="T6" fmla="*/ 16 w 21"/>
                    <a:gd name="T7" fmla="*/ 0 h 21"/>
                    <a:gd name="T8" fmla="*/ 21 w 21"/>
                    <a:gd name="T9" fmla="*/ 5 h 21"/>
                    <a:gd name="T10" fmla="*/ 5 w 21"/>
                    <a:gd name="T11" fmla="*/ 21 h 21"/>
                    <a:gd name="T12" fmla="*/ 0 w 21"/>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17"/>
                      </a:moveTo>
                      <a:cubicBezTo>
                        <a:pt x="0" y="14"/>
                        <a:pt x="2" y="12"/>
                        <a:pt x="5" y="12"/>
                      </a:cubicBezTo>
                      <a:cubicBezTo>
                        <a:pt x="9" y="12"/>
                        <a:pt x="12" y="9"/>
                        <a:pt x="12" y="5"/>
                      </a:cubicBezTo>
                      <a:cubicBezTo>
                        <a:pt x="12" y="2"/>
                        <a:pt x="14" y="0"/>
                        <a:pt x="16" y="0"/>
                      </a:cubicBezTo>
                      <a:cubicBezTo>
                        <a:pt x="19" y="0"/>
                        <a:pt x="21" y="2"/>
                        <a:pt x="21" y="5"/>
                      </a:cubicBezTo>
                      <a:cubicBezTo>
                        <a:pt x="21" y="14"/>
                        <a:pt x="13" y="21"/>
                        <a:pt x="5" y="21"/>
                      </a:cubicBezTo>
                      <a:cubicBezTo>
                        <a:pt x="2" y="21"/>
                        <a:pt x="0" y="19"/>
                        <a:pt x="0" y="17"/>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8" name="Freeform 605">
                  <a:extLst>
                    <a:ext uri="{FF2B5EF4-FFF2-40B4-BE49-F238E27FC236}">
                      <a16:creationId xmlns:a16="http://schemas.microsoft.com/office/drawing/2014/main" id="{C42EAF9B-E4BA-3443-9FF7-EEAAB2E1E707}"/>
                    </a:ext>
                  </a:extLst>
                </p:cNvPr>
                <p:cNvSpPr>
                  <a:spLocks/>
                </p:cNvSpPr>
                <p:nvPr/>
              </p:nvSpPr>
              <p:spPr bwMode="auto">
                <a:xfrm>
                  <a:off x="3851656" y="1710576"/>
                  <a:ext cx="49998" cy="48999"/>
                </a:xfrm>
                <a:custGeom>
                  <a:avLst/>
                  <a:gdLst>
                    <a:gd name="T0" fmla="*/ 16 w 21"/>
                    <a:gd name="T1" fmla="*/ 21 h 21"/>
                    <a:gd name="T2" fmla="*/ 12 w 21"/>
                    <a:gd name="T3" fmla="*/ 16 h 21"/>
                    <a:gd name="T4" fmla="*/ 5 w 21"/>
                    <a:gd name="T5" fmla="*/ 9 h 21"/>
                    <a:gd name="T6" fmla="*/ 0 w 21"/>
                    <a:gd name="T7" fmla="*/ 4 h 21"/>
                    <a:gd name="T8" fmla="*/ 5 w 21"/>
                    <a:gd name="T9" fmla="*/ 0 h 21"/>
                    <a:gd name="T10" fmla="*/ 21 w 21"/>
                    <a:gd name="T11" fmla="*/ 16 h 21"/>
                    <a:gd name="T12" fmla="*/ 16 w 2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6" y="21"/>
                      </a:moveTo>
                      <a:cubicBezTo>
                        <a:pt x="14" y="21"/>
                        <a:pt x="12" y="19"/>
                        <a:pt x="12" y="16"/>
                      </a:cubicBezTo>
                      <a:cubicBezTo>
                        <a:pt x="12" y="12"/>
                        <a:pt x="9" y="9"/>
                        <a:pt x="5" y="9"/>
                      </a:cubicBezTo>
                      <a:cubicBezTo>
                        <a:pt x="2" y="9"/>
                        <a:pt x="0" y="7"/>
                        <a:pt x="0" y="4"/>
                      </a:cubicBezTo>
                      <a:cubicBezTo>
                        <a:pt x="0" y="2"/>
                        <a:pt x="2" y="0"/>
                        <a:pt x="5" y="0"/>
                      </a:cubicBezTo>
                      <a:cubicBezTo>
                        <a:pt x="14" y="0"/>
                        <a:pt x="21" y="7"/>
                        <a:pt x="21" y="16"/>
                      </a:cubicBezTo>
                      <a:cubicBezTo>
                        <a:pt x="21" y="19"/>
                        <a:pt x="19" y="21"/>
                        <a:pt x="16" y="2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09" name="Freeform 606">
                  <a:extLst>
                    <a:ext uri="{FF2B5EF4-FFF2-40B4-BE49-F238E27FC236}">
                      <a16:creationId xmlns:a16="http://schemas.microsoft.com/office/drawing/2014/main" id="{A90BEC78-C3BF-F245-867B-90C08D30B651}"/>
                    </a:ext>
                  </a:extLst>
                </p:cNvPr>
                <p:cNvSpPr>
                  <a:spLocks/>
                </p:cNvSpPr>
                <p:nvPr/>
              </p:nvSpPr>
              <p:spPr bwMode="auto">
                <a:xfrm>
                  <a:off x="3761659" y="1710576"/>
                  <a:ext cx="77998" cy="22999"/>
                </a:xfrm>
                <a:custGeom>
                  <a:avLst/>
                  <a:gdLst>
                    <a:gd name="T0" fmla="*/ 28 w 33"/>
                    <a:gd name="T1" fmla="*/ 10 h 10"/>
                    <a:gd name="T2" fmla="*/ 5 w 33"/>
                    <a:gd name="T3" fmla="*/ 10 h 10"/>
                    <a:gd name="T4" fmla="*/ 0 w 33"/>
                    <a:gd name="T5" fmla="*/ 5 h 10"/>
                    <a:gd name="T6" fmla="*/ 5 w 33"/>
                    <a:gd name="T7" fmla="*/ 0 h 10"/>
                    <a:gd name="T8" fmla="*/ 28 w 33"/>
                    <a:gd name="T9" fmla="*/ 0 h 10"/>
                    <a:gd name="T10" fmla="*/ 33 w 33"/>
                    <a:gd name="T11" fmla="*/ 5 h 10"/>
                    <a:gd name="T12" fmla="*/ 28 w 3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10"/>
                      </a:moveTo>
                      <a:cubicBezTo>
                        <a:pt x="5" y="10"/>
                        <a:pt x="5" y="10"/>
                        <a:pt x="5" y="10"/>
                      </a:cubicBezTo>
                      <a:cubicBezTo>
                        <a:pt x="2" y="10"/>
                        <a:pt x="0" y="7"/>
                        <a:pt x="0" y="5"/>
                      </a:cubicBezTo>
                      <a:cubicBezTo>
                        <a:pt x="0" y="2"/>
                        <a:pt x="2" y="0"/>
                        <a:pt x="5" y="0"/>
                      </a:cubicBezTo>
                      <a:cubicBezTo>
                        <a:pt x="28" y="0"/>
                        <a:pt x="28" y="0"/>
                        <a:pt x="28" y="0"/>
                      </a:cubicBezTo>
                      <a:cubicBezTo>
                        <a:pt x="31" y="0"/>
                        <a:pt x="33" y="2"/>
                        <a:pt x="33" y="5"/>
                      </a:cubicBezTo>
                      <a:cubicBezTo>
                        <a:pt x="33" y="7"/>
                        <a:pt x="31" y="10"/>
                        <a:pt x="28" y="10"/>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grpSp>
        </p:grpSp>
      </p:grpSp>
      <p:grpSp>
        <p:nvGrpSpPr>
          <p:cNvPr id="110" name="Group 109">
            <a:extLst>
              <a:ext uri="{FF2B5EF4-FFF2-40B4-BE49-F238E27FC236}">
                <a16:creationId xmlns:a16="http://schemas.microsoft.com/office/drawing/2014/main" id="{96CADE96-00F3-2341-86E8-8F27EEB98E7D}"/>
              </a:ext>
            </a:extLst>
          </p:cNvPr>
          <p:cNvGrpSpPr/>
          <p:nvPr/>
        </p:nvGrpSpPr>
        <p:grpSpPr>
          <a:xfrm>
            <a:off x="799952" y="1598428"/>
            <a:ext cx="1828800" cy="2617277"/>
            <a:chOff x="3595661" y="1724809"/>
            <a:chExt cx="1828800" cy="2617277"/>
          </a:xfrm>
        </p:grpSpPr>
        <p:sp>
          <p:nvSpPr>
            <p:cNvPr id="111" name="TextBox 110">
              <a:extLst>
                <a:ext uri="{FF2B5EF4-FFF2-40B4-BE49-F238E27FC236}">
                  <a16:creationId xmlns:a16="http://schemas.microsoft.com/office/drawing/2014/main" id="{343D3970-C99B-7743-9606-65E5E9FE1083}"/>
                </a:ext>
              </a:extLst>
            </p:cNvPr>
            <p:cNvSpPr txBox="1"/>
            <p:nvPr/>
          </p:nvSpPr>
          <p:spPr>
            <a:xfrm>
              <a:off x="4011483" y="3695755"/>
              <a:ext cx="1003801" cy="646331"/>
            </a:xfrm>
            <a:prstGeom prst="rect">
              <a:avLst/>
            </a:prstGeom>
            <a:noFill/>
          </p:spPr>
          <p:txBody>
            <a:bodyPr wrap="none" rtlCol="0">
              <a:spAutoFit/>
            </a:bodyPr>
            <a:lstStyle/>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Threat </a:t>
              </a:r>
            </a:p>
            <a:p>
              <a:pPr marL="0" marR="0" lvl="0" indent="0" algn="ctr" defTabSz="457189"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CiscoSansTT ExtraLight"/>
                  <a:cs typeface="+mn-cs"/>
                </a:rPr>
                <a:t>Visibility</a:t>
              </a:r>
            </a:p>
          </p:txBody>
        </p:sp>
        <p:grpSp>
          <p:nvGrpSpPr>
            <p:cNvPr id="112" name="Group 111">
              <a:extLst>
                <a:ext uri="{FF2B5EF4-FFF2-40B4-BE49-F238E27FC236}">
                  <a16:creationId xmlns:a16="http://schemas.microsoft.com/office/drawing/2014/main" id="{542B1A15-379D-224E-94A0-D3D485F7FF91}"/>
                </a:ext>
              </a:extLst>
            </p:cNvPr>
            <p:cNvGrpSpPr/>
            <p:nvPr/>
          </p:nvGrpSpPr>
          <p:grpSpPr>
            <a:xfrm>
              <a:off x="3595661" y="1724809"/>
              <a:ext cx="1828800" cy="1828800"/>
              <a:chOff x="3511737" y="1734616"/>
              <a:chExt cx="1828800" cy="1828800"/>
            </a:xfrm>
          </p:grpSpPr>
          <p:sp>
            <p:nvSpPr>
              <p:cNvPr id="113" name="Oval 112">
                <a:extLst>
                  <a:ext uri="{FF2B5EF4-FFF2-40B4-BE49-F238E27FC236}">
                    <a16:creationId xmlns:a16="http://schemas.microsoft.com/office/drawing/2014/main" id="{0816D83E-0B35-554A-95CF-98E1C328BF3B}"/>
                  </a:ext>
                </a:extLst>
              </p:cNvPr>
              <p:cNvSpPr/>
              <p:nvPr/>
            </p:nvSpPr>
            <p:spPr>
              <a:xfrm>
                <a:off x="3511737" y="1734616"/>
                <a:ext cx="1828800" cy="1828800"/>
              </a:xfrm>
              <a:prstGeom prst="ellipse">
                <a:avLst/>
              </a:prstGeom>
              <a:solidFill>
                <a:srgbClr val="005073"/>
              </a:solidFill>
              <a:ln w="25400" cap="flat" cmpd="sng" algn="ctr">
                <a:noFill/>
                <a:prstDash val="solid"/>
              </a:ln>
              <a:effectLst/>
            </p:spPr>
            <p:txBody>
              <a:bodyPr rtlCol="0" anchor="ctr"/>
              <a:lstStyle/>
              <a:p>
                <a:pPr marL="0" marR="0" lvl="0" indent="0" algn="ctr"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grpSp>
            <p:nvGrpSpPr>
              <p:cNvPr id="114" name="Group 113">
                <a:extLst>
                  <a:ext uri="{FF2B5EF4-FFF2-40B4-BE49-F238E27FC236}">
                    <a16:creationId xmlns:a16="http://schemas.microsoft.com/office/drawing/2014/main" id="{44D6DFB1-CAFD-064E-BED5-97E757F02976}"/>
                  </a:ext>
                </a:extLst>
              </p:cNvPr>
              <p:cNvGrpSpPr>
                <a:grpSpLocks noChangeAspect="1"/>
              </p:cNvGrpSpPr>
              <p:nvPr/>
            </p:nvGrpSpPr>
            <p:grpSpPr>
              <a:xfrm>
                <a:off x="3758997" y="2372665"/>
                <a:ext cx="1334280" cy="552703"/>
                <a:chOff x="5357609" y="613610"/>
                <a:chExt cx="547984" cy="226993"/>
              </a:xfrm>
            </p:grpSpPr>
            <p:sp>
              <p:nvSpPr>
                <p:cNvPr id="115" name="Oval 186">
                  <a:extLst>
                    <a:ext uri="{FF2B5EF4-FFF2-40B4-BE49-F238E27FC236}">
                      <a16:creationId xmlns:a16="http://schemas.microsoft.com/office/drawing/2014/main" id="{8F3AC27A-5E69-7F4B-9058-416A42A2219D}"/>
                    </a:ext>
                  </a:extLst>
                </p:cNvPr>
                <p:cNvSpPr>
                  <a:spLocks noChangeArrowheads="1"/>
                </p:cNvSpPr>
                <p:nvPr/>
              </p:nvSpPr>
              <p:spPr bwMode="auto">
                <a:xfrm>
                  <a:off x="5560603" y="613610"/>
                  <a:ext cx="141996" cy="13899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16" name="Oval 187">
                  <a:extLst>
                    <a:ext uri="{FF2B5EF4-FFF2-40B4-BE49-F238E27FC236}">
                      <a16:creationId xmlns:a16="http://schemas.microsoft.com/office/drawing/2014/main" id="{46D5CF43-4F5D-7E45-8C8F-026BC3F2F659}"/>
                    </a:ext>
                  </a:extLst>
                </p:cNvPr>
                <p:cNvSpPr>
                  <a:spLocks noChangeArrowheads="1"/>
                </p:cNvSpPr>
                <p:nvPr/>
              </p:nvSpPr>
              <p:spPr bwMode="auto">
                <a:xfrm>
                  <a:off x="5357609" y="662608"/>
                  <a:ext cx="141996" cy="14199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17" name="Oval 188">
                  <a:extLst>
                    <a:ext uri="{FF2B5EF4-FFF2-40B4-BE49-F238E27FC236}">
                      <a16:creationId xmlns:a16="http://schemas.microsoft.com/office/drawing/2014/main" id="{C004FB70-ADA1-B54A-A184-5E742513B44D}"/>
                    </a:ext>
                  </a:extLst>
                </p:cNvPr>
                <p:cNvSpPr>
                  <a:spLocks noChangeArrowheads="1"/>
                </p:cNvSpPr>
                <p:nvPr/>
              </p:nvSpPr>
              <p:spPr bwMode="auto">
                <a:xfrm>
                  <a:off x="5383609" y="622610"/>
                  <a:ext cx="219993" cy="217993"/>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18" name="Oval 189">
                  <a:extLst>
                    <a:ext uri="{FF2B5EF4-FFF2-40B4-BE49-F238E27FC236}">
                      <a16:creationId xmlns:a16="http://schemas.microsoft.com/office/drawing/2014/main" id="{E8668865-46D0-C648-B004-D4827D5682CF}"/>
                    </a:ext>
                  </a:extLst>
                </p:cNvPr>
                <p:cNvSpPr>
                  <a:spLocks noChangeArrowheads="1"/>
                </p:cNvSpPr>
                <p:nvPr/>
              </p:nvSpPr>
              <p:spPr bwMode="auto">
                <a:xfrm>
                  <a:off x="5764597" y="662608"/>
                  <a:ext cx="140996" cy="14199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19" name="Oval 190">
                  <a:extLst>
                    <a:ext uri="{FF2B5EF4-FFF2-40B4-BE49-F238E27FC236}">
                      <a16:creationId xmlns:a16="http://schemas.microsoft.com/office/drawing/2014/main" id="{8E052B40-99F6-1249-AF63-BF94C90CE9BE}"/>
                    </a:ext>
                  </a:extLst>
                </p:cNvPr>
                <p:cNvSpPr>
                  <a:spLocks noChangeArrowheads="1"/>
                </p:cNvSpPr>
                <p:nvPr/>
              </p:nvSpPr>
              <p:spPr bwMode="auto">
                <a:xfrm>
                  <a:off x="5660600" y="622610"/>
                  <a:ext cx="218993" cy="217993"/>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20" name="Oval 191">
                  <a:extLst>
                    <a:ext uri="{FF2B5EF4-FFF2-40B4-BE49-F238E27FC236}">
                      <a16:creationId xmlns:a16="http://schemas.microsoft.com/office/drawing/2014/main" id="{82FE9D15-C606-1B4F-8784-D641B6A73F85}"/>
                    </a:ext>
                  </a:extLst>
                </p:cNvPr>
                <p:cNvSpPr>
                  <a:spLocks noChangeArrowheads="1"/>
                </p:cNvSpPr>
                <p:nvPr/>
              </p:nvSpPr>
              <p:spPr bwMode="auto">
                <a:xfrm>
                  <a:off x="5418608" y="655609"/>
                  <a:ext cx="148995" cy="150995"/>
                </a:xfrm>
                <a:prstGeom prst="ellipse">
                  <a:avLst/>
                </a:prstGeom>
                <a:solidFill>
                  <a:srgbClr val="FFFFFF">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sp>
              <p:nvSpPr>
                <p:cNvPr id="121" name="Oval 192">
                  <a:extLst>
                    <a:ext uri="{FF2B5EF4-FFF2-40B4-BE49-F238E27FC236}">
                      <a16:creationId xmlns:a16="http://schemas.microsoft.com/office/drawing/2014/main" id="{BABD1D0C-2FB5-8E40-B35F-AAE530539CCD}"/>
                    </a:ext>
                  </a:extLst>
                </p:cNvPr>
                <p:cNvSpPr>
                  <a:spLocks noChangeArrowheads="1"/>
                </p:cNvSpPr>
                <p:nvPr/>
              </p:nvSpPr>
              <p:spPr bwMode="auto">
                <a:xfrm>
                  <a:off x="5695599" y="655609"/>
                  <a:ext cx="148995" cy="150995"/>
                </a:xfrm>
                <a:prstGeom prst="ellipse">
                  <a:avLst/>
                </a:prstGeom>
                <a:solidFill>
                  <a:srgbClr val="FFFFFF">
                    <a:lumMod val="25000"/>
                    <a:lumOff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18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cs"/>
                  </a:endParaRPr>
                </a:p>
              </p:txBody>
            </p:sp>
          </p:grpSp>
        </p:grpSp>
      </p:grpSp>
    </p:spTree>
    <p:extLst>
      <p:ext uri="{BB962C8B-B14F-4D97-AF65-F5344CB8AC3E}">
        <p14:creationId xmlns:p14="http://schemas.microsoft.com/office/powerpoint/2010/main" val="413203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4069" y="25400"/>
            <a:ext cx="8582933" cy="881743"/>
          </a:xfrm>
        </p:spPr>
        <p:txBody>
          <a:bodyPr>
            <a:normAutofit/>
          </a:bodyPr>
          <a:lstStyle/>
          <a:p>
            <a:r>
              <a:rPr lang="en-US" sz="2100" dirty="0"/>
              <a:t>95% of All Successful Cyber Attacks are Caused by Phishing</a:t>
            </a:r>
          </a:p>
        </p:txBody>
      </p:sp>
      <p:grpSp>
        <p:nvGrpSpPr>
          <p:cNvPr id="29" name="Group 28"/>
          <p:cNvGrpSpPr/>
          <p:nvPr/>
        </p:nvGrpSpPr>
        <p:grpSpPr>
          <a:xfrm>
            <a:off x="6115050" y="1257300"/>
            <a:ext cx="2835359" cy="2521297"/>
            <a:chOff x="279087" y="1600200"/>
            <a:chExt cx="3780478" cy="3361729"/>
          </a:xfrm>
        </p:grpSpPr>
        <p:sp>
          <p:nvSpPr>
            <p:cNvPr id="7" name="TextBox 6"/>
            <p:cNvSpPr txBox="1"/>
            <p:nvPr/>
          </p:nvSpPr>
          <p:spPr>
            <a:xfrm>
              <a:off x="304800" y="1600200"/>
              <a:ext cx="3754765" cy="461665"/>
            </a:xfrm>
            <a:prstGeom prst="rect">
              <a:avLst/>
            </a:prstGeom>
            <a:noFill/>
          </p:spPr>
          <p:txBody>
            <a:bodyPr wrap="square" rtlCol="0">
              <a:spAutoFit/>
            </a:bodyPr>
            <a:lstStyle/>
            <a:p>
              <a:pPr algn="ctr">
                <a:defRPr/>
              </a:pPr>
              <a:r>
                <a:rPr lang="en-US" sz="1650" dirty="0">
                  <a:latin typeface="Helvetica Neue Thin" panose="02000503000000020004" pitchFamily="2" charset="0"/>
                  <a:ea typeface="Helvetica Neue Thin" panose="02000503000000020004" pitchFamily="2" charset="0"/>
                  <a:cs typeface="Helvetica Neue Thin" panose="02000503000000020004" pitchFamily="2" charset="0"/>
                </a:rPr>
                <a:t>Customer Phishing</a:t>
              </a:r>
            </a:p>
          </p:txBody>
        </p:sp>
        <p:grpSp>
          <p:nvGrpSpPr>
            <p:cNvPr id="26" name="Group 25"/>
            <p:cNvGrpSpPr/>
            <p:nvPr/>
          </p:nvGrpSpPr>
          <p:grpSpPr>
            <a:xfrm>
              <a:off x="279087" y="2245631"/>
              <a:ext cx="3747465" cy="1716769"/>
              <a:chOff x="279087" y="2245631"/>
              <a:chExt cx="3747465" cy="1716769"/>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9087" y="2245631"/>
                <a:ext cx="3747465" cy="1716769"/>
              </a:xfrm>
              <a:prstGeom prst="rect">
                <a:avLst/>
              </a:prstGeom>
              <a:effectLst>
                <a:outerShdw blurRad="127000" dist="101600" dir="13500000" algn="br" rotWithShape="0">
                  <a:prstClr val="black">
                    <a:alpha val="40000"/>
                  </a:prstClr>
                </a:outerShdw>
              </a:effectLst>
            </p:spPr>
          </p:pic>
          <p:sp>
            <p:nvSpPr>
              <p:cNvPr id="6" name="TextBox 5"/>
              <p:cNvSpPr txBox="1"/>
              <p:nvPr/>
            </p:nvSpPr>
            <p:spPr>
              <a:xfrm>
                <a:off x="533400" y="2895266"/>
                <a:ext cx="3322026" cy="883318"/>
              </a:xfrm>
              <a:prstGeom prst="rect">
                <a:avLst/>
              </a:prstGeom>
              <a:noFill/>
              <a:ln>
                <a:noFill/>
              </a:ln>
            </p:spPr>
            <p:txBody>
              <a:bodyPr wrap="square" rtlCol="0">
                <a:spAutoFit/>
              </a:bodyPr>
              <a:lstStyle/>
              <a:p>
                <a:pPr>
                  <a:lnSpc>
                    <a:spcPct val="95000"/>
                  </a:lnSpc>
                  <a:defRPr/>
                </a:pPr>
                <a:r>
                  <a:rPr lang="en-US" sz="975" dirty="0">
                    <a:solidFill>
                      <a:srgbClr val="000000"/>
                    </a:solidFill>
                    <a:latin typeface="Helvetica Neue"/>
                    <a:cs typeface="Helvetica Neue"/>
                  </a:rPr>
                  <a:t>From: Amazon Web Services &lt;</a:t>
                </a:r>
                <a:r>
                  <a:rPr lang="en-US" sz="975" b="1" dirty="0">
                    <a:solidFill>
                      <a:srgbClr val="000000"/>
                    </a:solidFill>
                    <a:latin typeface="Helvetica Neue"/>
                    <a:cs typeface="Helvetica Neue"/>
                    <a:hlinkClick r:id="rId4"/>
                  </a:rPr>
                  <a:t>noreply-aws@amazon.com</a:t>
                </a:r>
                <a:r>
                  <a:rPr lang="en-US" sz="975" dirty="0">
                    <a:solidFill>
                      <a:srgbClr val="000000"/>
                    </a:solidFill>
                    <a:latin typeface="Helvetica Neue"/>
                    <a:cs typeface="Helvetica Neue"/>
                  </a:rPr>
                  <a:t>&gt;</a:t>
                </a:r>
              </a:p>
              <a:p>
                <a:pPr>
                  <a:lnSpc>
                    <a:spcPct val="95000"/>
                  </a:lnSpc>
                  <a:defRPr/>
                </a:pPr>
                <a:r>
                  <a:rPr lang="en-US" sz="975" dirty="0">
                    <a:solidFill>
                      <a:srgbClr val="000000"/>
                    </a:solidFill>
                    <a:latin typeface="Helvetica Neue"/>
                    <a:cs typeface="Helvetica Neue"/>
                  </a:rPr>
                  <a:t>To: </a:t>
                </a:r>
                <a:r>
                  <a:rPr lang="en-US" sz="975" dirty="0" err="1">
                    <a:solidFill>
                      <a:srgbClr val="000000"/>
                    </a:solidFill>
                    <a:latin typeface="Helvetica Neue"/>
                    <a:cs typeface="Helvetica Neue"/>
                  </a:rPr>
                  <a:t>srobson@informatica.com</a:t>
                </a:r>
                <a:endParaRPr lang="en-US" sz="975" dirty="0">
                  <a:solidFill>
                    <a:srgbClr val="000000"/>
                  </a:solidFill>
                  <a:latin typeface="Helvetica Neue"/>
                  <a:cs typeface="Helvetica Neue"/>
                </a:endParaRPr>
              </a:p>
              <a:p>
                <a:pPr>
                  <a:lnSpc>
                    <a:spcPct val="95000"/>
                  </a:lnSpc>
                  <a:defRPr/>
                </a:pPr>
                <a:r>
                  <a:rPr lang="en-US" sz="975" dirty="0">
                    <a:solidFill>
                      <a:srgbClr val="000000"/>
                    </a:solidFill>
                    <a:latin typeface="Helvetica Neue"/>
                    <a:cs typeface="Helvetica Neue"/>
                  </a:rPr>
                  <a:t>Subject: </a:t>
                </a:r>
                <a:r>
                  <a:rPr lang="en-US" sz="975" b="1" dirty="0">
                    <a:solidFill>
                      <a:srgbClr val="000000"/>
                    </a:solidFill>
                    <a:latin typeface="Helvetica Neue"/>
                    <a:cs typeface="Helvetica Neue"/>
                  </a:rPr>
                  <a:t>Confirm your AWS Account</a:t>
                </a:r>
              </a:p>
            </p:txBody>
          </p:sp>
        </p:grpSp>
        <p:sp>
          <p:nvSpPr>
            <p:cNvPr id="21" name="TextBox 20"/>
            <p:cNvSpPr txBox="1"/>
            <p:nvPr/>
          </p:nvSpPr>
          <p:spPr>
            <a:xfrm>
              <a:off x="304800" y="4038600"/>
              <a:ext cx="3754765" cy="923329"/>
            </a:xfrm>
            <a:prstGeom prst="rect">
              <a:avLst/>
            </a:prstGeom>
            <a:noFill/>
          </p:spPr>
          <p:txBody>
            <a:bodyPr wrap="square" rtlCol="0">
              <a:spAutoFit/>
            </a:bodyPr>
            <a:lstStyle/>
            <a:p>
              <a:pPr algn="ctr">
                <a:defRPr/>
              </a:pPr>
              <a:r>
                <a:rPr lang="en-US" sz="2100" b="1" dirty="0">
                  <a:solidFill>
                    <a:srgbClr val="F78B25"/>
                  </a:solidFill>
                  <a:latin typeface="Helvetica Neue" panose="02000503000000020004" pitchFamily="2" charset="0"/>
                  <a:ea typeface="Helvetica Neue" panose="02000503000000020004" pitchFamily="2" charset="0"/>
                  <a:cs typeface="Helvetica Neue" panose="02000503000000020004" pitchFamily="2" charset="0"/>
                </a:rPr>
                <a:t>$9.1B</a:t>
              </a:r>
              <a:br>
                <a:rPr lang="en-US" sz="1500" b="1" dirty="0">
                  <a:solidFill>
                    <a:srgbClr val="F78B25"/>
                  </a:solidFill>
                  <a:latin typeface="Helvetica Neue" panose="02000503000000020004" pitchFamily="2" charset="0"/>
                  <a:ea typeface="Helvetica Neue" panose="02000503000000020004" pitchFamily="2" charset="0"/>
                  <a:cs typeface="Helvetica Neue" panose="02000503000000020004" pitchFamily="2" charset="0"/>
                </a:rPr>
              </a:br>
              <a:r>
                <a:rPr lang="en-US" dirty="0">
                  <a:latin typeface="Helvetica Neue Light" charset="0"/>
                  <a:ea typeface="Helvetica Neue Light" charset="0"/>
                  <a:cs typeface="Helvetica Neue Light" charset="0"/>
                </a:rPr>
                <a:t>in global losses</a:t>
              </a:r>
            </a:p>
          </p:txBody>
        </p:sp>
      </p:grpSp>
      <p:grpSp>
        <p:nvGrpSpPr>
          <p:cNvPr id="28" name="Group 27"/>
          <p:cNvGrpSpPr/>
          <p:nvPr/>
        </p:nvGrpSpPr>
        <p:grpSpPr>
          <a:xfrm>
            <a:off x="114300" y="1146945"/>
            <a:ext cx="2999963" cy="3185650"/>
            <a:chOff x="4077251" y="1453060"/>
            <a:chExt cx="3999950" cy="4247533"/>
          </a:xfrm>
        </p:grpSpPr>
        <p:sp>
          <p:nvSpPr>
            <p:cNvPr id="11" name="TextBox 10"/>
            <p:cNvSpPr txBox="1"/>
            <p:nvPr/>
          </p:nvSpPr>
          <p:spPr>
            <a:xfrm>
              <a:off x="4203494" y="1453060"/>
              <a:ext cx="3747463" cy="800219"/>
            </a:xfrm>
            <a:prstGeom prst="rect">
              <a:avLst/>
            </a:prstGeom>
            <a:noFill/>
          </p:spPr>
          <p:txBody>
            <a:bodyPr wrap="square" rtlCol="0">
              <a:spAutoFit/>
            </a:bodyPr>
            <a:lstStyle/>
            <a:p>
              <a:pPr algn="ctr">
                <a:defRPr/>
              </a:pPr>
              <a:r>
                <a:rPr lang="en-US" sz="1650" dirty="0">
                  <a:latin typeface="Helvetica Neue Thin" panose="02000503000000020004" pitchFamily="2" charset="0"/>
                  <a:ea typeface="Helvetica Neue Thin" panose="02000503000000020004" pitchFamily="2" charset="0"/>
                  <a:cs typeface="Helvetica Neue Thin" panose="02000503000000020004" pitchFamily="2" charset="0"/>
                </a:rPr>
                <a:t>Business Email Compromise “BEC”</a:t>
              </a:r>
            </a:p>
          </p:txBody>
        </p:sp>
        <p:grpSp>
          <p:nvGrpSpPr>
            <p:cNvPr id="25" name="Group 24"/>
            <p:cNvGrpSpPr/>
            <p:nvPr/>
          </p:nvGrpSpPr>
          <p:grpSpPr>
            <a:xfrm>
              <a:off x="4210681" y="2245630"/>
              <a:ext cx="3747465" cy="1716770"/>
              <a:chOff x="4210681" y="2245630"/>
              <a:chExt cx="3747465" cy="1716770"/>
            </a:xfrm>
          </p:grpSpPr>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10681" y="2245630"/>
                <a:ext cx="3747465" cy="1716770"/>
              </a:xfrm>
              <a:prstGeom prst="rect">
                <a:avLst/>
              </a:prstGeom>
              <a:effectLst>
                <a:outerShdw blurRad="127000" dist="101600" dir="13500000" algn="br" rotWithShape="0">
                  <a:prstClr val="black">
                    <a:alpha val="40000"/>
                  </a:prstClr>
                </a:outerShdw>
              </a:effectLst>
            </p:spPr>
          </p:pic>
          <p:sp>
            <p:nvSpPr>
              <p:cNvPr id="10" name="TextBox 9"/>
              <p:cNvSpPr txBox="1"/>
              <p:nvPr/>
            </p:nvSpPr>
            <p:spPr>
              <a:xfrm>
                <a:off x="4471068" y="2895266"/>
                <a:ext cx="3352800" cy="693268"/>
              </a:xfrm>
              <a:prstGeom prst="rect">
                <a:avLst/>
              </a:prstGeom>
              <a:noFill/>
              <a:ln>
                <a:noFill/>
              </a:ln>
            </p:spPr>
            <p:txBody>
              <a:bodyPr wrap="square" rtlCol="0">
                <a:spAutoFit/>
              </a:bodyPr>
              <a:lstStyle/>
              <a:p>
                <a:pPr>
                  <a:lnSpc>
                    <a:spcPct val="95000"/>
                  </a:lnSpc>
                  <a:defRPr/>
                </a:pPr>
                <a:r>
                  <a:rPr lang="en-US" sz="975" dirty="0">
                    <a:solidFill>
                      <a:srgbClr val="000000"/>
                    </a:solidFill>
                    <a:latin typeface="Helvetica Neue"/>
                    <a:cs typeface="Helvetica Neue"/>
                  </a:rPr>
                  <a:t>From: </a:t>
                </a:r>
                <a:r>
                  <a:rPr lang="en-US" sz="975" dirty="0" err="1">
                    <a:solidFill>
                      <a:srgbClr val="000000"/>
                    </a:solidFill>
                    <a:latin typeface="Helvetica Neue"/>
                    <a:cs typeface="Helvetica Neue"/>
                  </a:rPr>
                  <a:t>Bertolini</a:t>
                </a:r>
                <a:r>
                  <a:rPr lang="en-US" sz="975" dirty="0">
                    <a:solidFill>
                      <a:srgbClr val="000000"/>
                    </a:solidFill>
                    <a:latin typeface="Helvetica Neue"/>
                    <a:cs typeface="Helvetica Neue"/>
                  </a:rPr>
                  <a:t>, Mark (Chairman &amp; CEO)</a:t>
                </a:r>
              </a:p>
              <a:p>
                <a:pPr>
                  <a:lnSpc>
                    <a:spcPct val="95000"/>
                  </a:lnSpc>
                  <a:defRPr/>
                </a:pPr>
                <a:r>
                  <a:rPr lang="en-US" sz="975" dirty="0">
                    <a:solidFill>
                      <a:srgbClr val="000000"/>
                    </a:solidFill>
                    <a:latin typeface="Helvetica Neue"/>
                    <a:cs typeface="Helvetica Neue"/>
                  </a:rPr>
                  <a:t>To: </a:t>
                </a:r>
                <a:r>
                  <a:rPr lang="en-US" sz="975" dirty="0" err="1">
                    <a:solidFill>
                      <a:srgbClr val="000000"/>
                    </a:solidFill>
                    <a:latin typeface="Helvetica Neue"/>
                    <a:cs typeface="Helvetica Neue"/>
                  </a:rPr>
                  <a:t>Guertin</a:t>
                </a:r>
                <a:r>
                  <a:rPr lang="en-US" sz="975" dirty="0">
                    <a:solidFill>
                      <a:srgbClr val="000000"/>
                    </a:solidFill>
                    <a:latin typeface="Helvetica Neue"/>
                    <a:cs typeface="Helvetica Neue"/>
                  </a:rPr>
                  <a:t>, Shawn</a:t>
                </a:r>
              </a:p>
              <a:p>
                <a:pPr>
                  <a:lnSpc>
                    <a:spcPct val="95000"/>
                  </a:lnSpc>
                  <a:defRPr/>
                </a:pPr>
                <a:r>
                  <a:rPr lang="en-US" sz="975" dirty="0">
                    <a:solidFill>
                      <a:srgbClr val="000000"/>
                    </a:solidFill>
                    <a:latin typeface="Helvetica Neue"/>
                    <a:cs typeface="Helvetica Neue"/>
                  </a:rPr>
                  <a:t>Subject: </a:t>
                </a:r>
                <a:r>
                  <a:rPr lang="en-US" sz="975" b="1" dirty="0">
                    <a:solidFill>
                      <a:srgbClr val="000000"/>
                    </a:solidFill>
                    <a:latin typeface="Helvetica Neue"/>
                    <a:cs typeface="Helvetica Neue"/>
                  </a:rPr>
                  <a:t>Outgoing payment</a:t>
                </a:r>
              </a:p>
            </p:txBody>
          </p:sp>
        </p:grpSp>
        <p:sp>
          <p:nvSpPr>
            <p:cNvPr id="22" name="TextBox 21"/>
            <p:cNvSpPr txBox="1"/>
            <p:nvPr/>
          </p:nvSpPr>
          <p:spPr>
            <a:xfrm>
              <a:off x="4077251" y="4038600"/>
              <a:ext cx="3999950" cy="1661993"/>
            </a:xfrm>
            <a:prstGeom prst="rect">
              <a:avLst/>
            </a:prstGeom>
            <a:noFill/>
          </p:spPr>
          <p:txBody>
            <a:bodyPr wrap="square" rtlCol="0">
              <a:spAutoFit/>
            </a:bodyPr>
            <a:lstStyle/>
            <a:p>
              <a:pPr algn="ctr">
                <a:defRPr/>
              </a:pPr>
              <a:r>
                <a:rPr lang="en-US" sz="2100" b="1" dirty="0">
                  <a:latin typeface="Helvetica Neue" panose="02000503000000020004" pitchFamily="2" charset="0"/>
                  <a:ea typeface="Helvetica Neue" panose="02000503000000020004" pitchFamily="2" charset="0"/>
                  <a:cs typeface="Helvetica Neue" panose="02000503000000020004" pitchFamily="2" charset="0"/>
                </a:rPr>
                <a:t>$100M</a:t>
              </a:r>
              <a:br>
                <a:rPr lang="en-US" sz="1500" b="1" dirty="0">
                  <a:latin typeface="Helvetica Neue" panose="02000503000000020004" pitchFamily="2" charset="0"/>
                  <a:ea typeface="Helvetica Neue" panose="02000503000000020004" pitchFamily="2" charset="0"/>
                  <a:cs typeface="Helvetica Neue" panose="02000503000000020004" pitchFamily="2" charset="0"/>
                </a:rPr>
              </a:br>
              <a:r>
                <a:rPr lang="en-US" dirty="0">
                  <a:latin typeface="Helvetica Neue Light" charset="0"/>
                  <a:ea typeface="Helvetica Neue Light" charset="0"/>
                  <a:cs typeface="Helvetica Neue Light" charset="0"/>
                </a:rPr>
                <a:t>lost by Google and Facebook</a:t>
              </a:r>
              <a:br>
                <a:rPr lang="en-US" dirty="0">
                  <a:latin typeface="Helvetica Neue Light" charset="0"/>
                  <a:ea typeface="Helvetica Neue Light" charset="0"/>
                  <a:cs typeface="Helvetica Neue Light" charset="0"/>
                </a:rPr>
              </a:br>
              <a:r>
                <a:rPr lang="en-US" dirty="0">
                  <a:latin typeface="Helvetica Neue Light" charset="0"/>
                  <a:ea typeface="Helvetica Neue Light" charset="0"/>
                  <a:cs typeface="Helvetica Neue Light" charset="0"/>
                </a:rPr>
                <a:t>in partner invoicing scam</a:t>
              </a:r>
            </a:p>
          </p:txBody>
        </p:sp>
      </p:grpSp>
      <p:grpSp>
        <p:nvGrpSpPr>
          <p:cNvPr id="27" name="Group 26"/>
          <p:cNvGrpSpPr/>
          <p:nvPr/>
        </p:nvGrpSpPr>
        <p:grpSpPr>
          <a:xfrm>
            <a:off x="3160330" y="1257300"/>
            <a:ext cx="2816075" cy="2798296"/>
            <a:chOff x="8138624" y="1600200"/>
            <a:chExt cx="3754766" cy="3731061"/>
          </a:xfrm>
        </p:grpSpPr>
        <p:sp>
          <p:nvSpPr>
            <p:cNvPr id="15" name="TextBox 14"/>
            <p:cNvSpPr txBox="1"/>
            <p:nvPr/>
          </p:nvSpPr>
          <p:spPr>
            <a:xfrm>
              <a:off x="8138624" y="1600200"/>
              <a:ext cx="3754766" cy="461665"/>
            </a:xfrm>
            <a:prstGeom prst="rect">
              <a:avLst/>
            </a:prstGeom>
            <a:noFill/>
          </p:spPr>
          <p:txBody>
            <a:bodyPr wrap="square" rtlCol="0">
              <a:spAutoFit/>
            </a:bodyPr>
            <a:lstStyle/>
            <a:p>
              <a:pPr algn="ctr">
                <a:defRPr/>
              </a:pPr>
              <a:r>
                <a:rPr lang="en-US" sz="1650" dirty="0">
                  <a:latin typeface="Helvetica Neue Thin" panose="02000503000000020004" pitchFamily="2" charset="0"/>
                  <a:ea typeface="Helvetica Neue Thin" panose="02000503000000020004" pitchFamily="2" charset="0"/>
                  <a:cs typeface="Helvetica Neue Thin" panose="02000503000000020004" pitchFamily="2" charset="0"/>
                </a:rPr>
                <a:t>Breach-focused Attacks</a:t>
              </a:r>
            </a:p>
          </p:txBody>
        </p:sp>
        <p:grpSp>
          <p:nvGrpSpPr>
            <p:cNvPr id="17" name="Group 16"/>
            <p:cNvGrpSpPr/>
            <p:nvPr/>
          </p:nvGrpSpPr>
          <p:grpSpPr>
            <a:xfrm>
              <a:off x="8142275" y="2239524"/>
              <a:ext cx="3747465" cy="1722876"/>
              <a:chOff x="8142275" y="2239524"/>
              <a:chExt cx="3747465" cy="1722876"/>
            </a:xfrm>
          </p:grpSpPr>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42275" y="2239524"/>
                <a:ext cx="3747465" cy="1722876"/>
              </a:xfrm>
              <a:prstGeom prst="rect">
                <a:avLst/>
              </a:prstGeom>
              <a:effectLst>
                <a:outerShdw blurRad="127000" dist="101600" dir="13500000" algn="br" rotWithShape="0">
                  <a:prstClr val="black">
                    <a:alpha val="40000"/>
                  </a:prstClr>
                </a:outerShdw>
              </a:effectLst>
            </p:spPr>
          </p:pic>
          <p:sp>
            <p:nvSpPr>
              <p:cNvPr id="14" name="TextBox 13"/>
              <p:cNvSpPr txBox="1"/>
              <p:nvPr/>
            </p:nvSpPr>
            <p:spPr>
              <a:xfrm>
                <a:off x="8382000" y="2895267"/>
                <a:ext cx="3352800" cy="693268"/>
              </a:xfrm>
              <a:prstGeom prst="rect">
                <a:avLst/>
              </a:prstGeom>
              <a:noFill/>
              <a:ln>
                <a:noFill/>
              </a:ln>
            </p:spPr>
            <p:txBody>
              <a:bodyPr wrap="square" rtlCol="0">
                <a:spAutoFit/>
              </a:bodyPr>
              <a:lstStyle/>
              <a:p>
                <a:pPr>
                  <a:lnSpc>
                    <a:spcPct val="95000"/>
                  </a:lnSpc>
                  <a:defRPr/>
                </a:pPr>
                <a:r>
                  <a:rPr lang="en-US" sz="975" dirty="0">
                    <a:solidFill>
                      <a:srgbClr val="000000"/>
                    </a:solidFill>
                    <a:latin typeface="Helvetica Neue"/>
                    <a:cs typeface="Helvetica Neue"/>
                  </a:rPr>
                  <a:t>From: </a:t>
                </a:r>
                <a:r>
                  <a:rPr lang="en-US" sz="975" dirty="0" err="1">
                    <a:solidFill>
                      <a:srgbClr val="000000"/>
                    </a:solidFill>
                    <a:latin typeface="Helvetica Neue"/>
                    <a:cs typeface="Helvetica Neue"/>
                  </a:rPr>
                  <a:t>cyndikane@company-a.net</a:t>
                </a:r>
                <a:endParaRPr lang="en-US" sz="975" dirty="0">
                  <a:solidFill>
                    <a:srgbClr val="000000"/>
                  </a:solidFill>
                  <a:latin typeface="Helvetica Neue"/>
                  <a:cs typeface="Helvetica Neue"/>
                </a:endParaRPr>
              </a:p>
              <a:p>
                <a:pPr>
                  <a:lnSpc>
                    <a:spcPct val="95000"/>
                  </a:lnSpc>
                  <a:defRPr/>
                </a:pPr>
                <a:r>
                  <a:rPr lang="en-US" sz="975" dirty="0">
                    <a:solidFill>
                      <a:srgbClr val="000000"/>
                    </a:solidFill>
                    <a:latin typeface="Helvetica Neue"/>
                    <a:cs typeface="Helvetica Neue"/>
                  </a:rPr>
                  <a:t>To: </a:t>
                </a:r>
                <a:r>
                  <a:rPr lang="en-US" sz="975" dirty="0" err="1">
                    <a:solidFill>
                      <a:srgbClr val="000000"/>
                    </a:solidFill>
                    <a:latin typeface="Helvetica Neue"/>
                    <a:cs typeface="Helvetica Neue"/>
                  </a:rPr>
                  <a:t>jmcnamara@company-b.com</a:t>
                </a:r>
                <a:endParaRPr lang="en-US" sz="975" dirty="0">
                  <a:solidFill>
                    <a:srgbClr val="000000"/>
                  </a:solidFill>
                  <a:latin typeface="Helvetica Neue"/>
                  <a:cs typeface="Helvetica Neue"/>
                </a:endParaRPr>
              </a:p>
              <a:p>
                <a:pPr>
                  <a:lnSpc>
                    <a:spcPct val="95000"/>
                  </a:lnSpc>
                  <a:defRPr/>
                </a:pPr>
                <a:r>
                  <a:rPr lang="en-US" sz="975" dirty="0">
                    <a:solidFill>
                      <a:srgbClr val="000000"/>
                    </a:solidFill>
                    <a:latin typeface="Helvetica Neue"/>
                    <a:cs typeface="Helvetica Neue"/>
                  </a:rPr>
                  <a:t>Subject: </a:t>
                </a:r>
                <a:r>
                  <a:rPr lang="en-US" sz="975" b="1" dirty="0" err="1">
                    <a:solidFill>
                      <a:srgbClr val="000000"/>
                    </a:solidFill>
                    <a:latin typeface="Helvetica Neue"/>
                    <a:cs typeface="Helvetica Neue"/>
                  </a:rPr>
                  <a:t>Fwd</a:t>
                </a:r>
                <a:r>
                  <a:rPr lang="en-US" sz="975" b="1" dirty="0">
                    <a:solidFill>
                      <a:srgbClr val="000000"/>
                    </a:solidFill>
                    <a:latin typeface="Helvetica Neue"/>
                    <a:cs typeface="Helvetica Neue"/>
                  </a:rPr>
                  <a:t>: </a:t>
                </a:r>
                <a:r>
                  <a:rPr lang="en-US" sz="975" b="1" dirty="0" err="1">
                    <a:solidFill>
                      <a:srgbClr val="000000"/>
                    </a:solidFill>
                    <a:latin typeface="Helvetica Neue"/>
                    <a:cs typeface="Helvetica Neue"/>
                  </a:rPr>
                  <a:t>Proforma</a:t>
                </a:r>
                <a:r>
                  <a:rPr lang="en-US" sz="975" b="1" dirty="0">
                    <a:solidFill>
                      <a:srgbClr val="000000"/>
                    </a:solidFill>
                    <a:latin typeface="Helvetica Neue"/>
                    <a:cs typeface="Helvetica Neue"/>
                  </a:rPr>
                  <a:t> Invoice</a:t>
                </a:r>
              </a:p>
            </p:txBody>
          </p:sp>
        </p:grpSp>
        <p:sp>
          <p:nvSpPr>
            <p:cNvPr id="23" name="TextBox 22"/>
            <p:cNvSpPr txBox="1"/>
            <p:nvPr/>
          </p:nvSpPr>
          <p:spPr>
            <a:xfrm>
              <a:off x="8138624" y="4038600"/>
              <a:ext cx="3754766" cy="1292661"/>
            </a:xfrm>
            <a:prstGeom prst="rect">
              <a:avLst/>
            </a:prstGeom>
            <a:noFill/>
          </p:spPr>
          <p:txBody>
            <a:bodyPr wrap="square" rtlCol="0">
              <a:spAutoFit/>
            </a:bodyPr>
            <a:lstStyle/>
            <a:p>
              <a:pPr algn="ctr">
                <a:defRPr/>
              </a:pPr>
              <a:r>
                <a:rPr lang="en-US" sz="2100" b="1" dirty="0">
                  <a:solidFill>
                    <a:srgbClr val="F78B25"/>
                  </a:solidFill>
                  <a:latin typeface="Helvetica Neue" panose="02000503000000020004" pitchFamily="2" charset="0"/>
                  <a:ea typeface="Helvetica Neue" panose="02000503000000020004" pitchFamily="2" charset="0"/>
                  <a:cs typeface="Helvetica Neue" panose="02000503000000020004" pitchFamily="2" charset="0"/>
                </a:rPr>
                <a:t>96%</a:t>
              </a:r>
              <a:br>
                <a:rPr lang="en-US" sz="1500" b="1" dirty="0">
                  <a:solidFill>
                    <a:srgbClr val="F78B25"/>
                  </a:solidFill>
                  <a:latin typeface="Helvetica Neue" panose="02000503000000020004" pitchFamily="2" charset="0"/>
                  <a:ea typeface="Helvetica Neue" panose="02000503000000020004" pitchFamily="2" charset="0"/>
                  <a:cs typeface="Helvetica Neue" panose="02000503000000020004" pitchFamily="2" charset="0"/>
                </a:rPr>
              </a:br>
              <a:r>
                <a:rPr lang="en-US" dirty="0">
                  <a:latin typeface="Helvetica Neue Light" charset="0"/>
                  <a:ea typeface="Helvetica Neue Light" charset="0"/>
                  <a:cs typeface="Helvetica Neue Light" charset="0"/>
                </a:rPr>
                <a:t>of breaches</a:t>
              </a:r>
            </a:p>
            <a:p>
              <a:pPr algn="ctr">
                <a:defRPr/>
              </a:pPr>
              <a:r>
                <a:rPr lang="en-US" dirty="0">
                  <a:latin typeface="Helvetica Neue Light" charset="0"/>
                  <a:ea typeface="Helvetica Neue Light" charset="0"/>
                  <a:cs typeface="Helvetica Neue Light" charset="0"/>
                </a:rPr>
                <a:t>communicated via email</a:t>
              </a:r>
            </a:p>
          </p:txBody>
        </p:sp>
      </p:grpSp>
      <p:pic>
        <p:nvPicPr>
          <p:cNvPr id="16" name="Picture 15" descr="long shadow.png"/>
          <p:cNvPicPr>
            <a:picLocks noChangeAspect="1"/>
          </p:cNvPicPr>
          <p:nvPr/>
        </p:nvPicPr>
        <p:blipFill>
          <a:blip r:embed="rId5">
            <a:extLst>
              <a:ext uri="{BEBA8EAE-BF5A-486C-A8C5-ECC9F3942E4B}">
                <a14:imgProps xmlns:a14="http://schemas.microsoft.com/office/drawing/2010/main">
                  <a14:imgLayer r:embed="rId6">
                    <a14:imgEffect>
                      <a14:brightnessContrast bright="-22000" contrast="-25000"/>
                    </a14:imgEffect>
                  </a14:imgLayer>
                </a14:imgProps>
              </a:ext>
            </a:extLst>
          </a:blip>
          <a:stretch>
            <a:fillRect/>
          </a:stretch>
        </p:blipFill>
        <p:spPr>
          <a:xfrm>
            <a:off x="32376" y="2735946"/>
            <a:ext cx="9143772" cy="301747"/>
          </a:xfrm>
          <a:prstGeom prst="rect">
            <a:avLst/>
          </a:prstGeom>
        </p:spPr>
      </p:pic>
      <p:sp>
        <p:nvSpPr>
          <p:cNvPr id="24" name="TextBox 23">
            <a:extLst>
              <a:ext uri="{FF2B5EF4-FFF2-40B4-BE49-F238E27FC236}">
                <a16:creationId xmlns:a16="http://schemas.microsoft.com/office/drawing/2014/main" id="{00377E17-97E4-4226-94AF-2CB2F81D695C}"/>
              </a:ext>
            </a:extLst>
          </p:cNvPr>
          <p:cNvSpPr txBox="1"/>
          <p:nvPr/>
        </p:nvSpPr>
        <p:spPr>
          <a:xfrm>
            <a:off x="505918" y="4396648"/>
            <a:ext cx="8238032" cy="253916"/>
          </a:xfrm>
          <a:prstGeom prst="rect">
            <a:avLst/>
          </a:prstGeom>
          <a:noFill/>
        </p:spPr>
        <p:txBody>
          <a:bodyPr wrap="square" rtlCol="0" anchor="b" anchorCtr="0">
            <a:spAutoFit/>
          </a:bodyPr>
          <a:lstStyle/>
          <a:p>
            <a:pPr>
              <a:defRPr/>
            </a:pPr>
            <a:r>
              <a:rPr lang="en-US" sz="750" dirty="0">
                <a:solidFill>
                  <a:srgbClr val="4E4D53">
                    <a:lumMod val="60000"/>
                    <a:lumOff val="40000"/>
                  </a:srgbClr>
                </a:solidFill>
                <a:latin typeface="Helvetica Neue" charset="0"/>
                <a:ea typeface="Helvetica Neue" charset="0"/>
                <a:cs typeface="Helvetica Neue" charset="0"/>
              </a:rPr>
              <a:t>Sources: RSA Global Fraud and Cybercrime Forecast 2017, Verizon Data Breach Digest 2018</a:t>
            </a:r>
            <a:r>
              <a:rPr lang="en-US" sz="1050" b="1" i="1" dirty="0">
                <a:solidFill>
                  <a:srgbClr val="4E4D53">
                    <a:lumMod val="60000"/>
                    <a:lumOff val="40000"/>
                  </a:srgbClr>
                </a:solidFill>
                <a:latin typeface="Helvetica Neue" charset="0"/>
                <a:ea typeface="Helvetica Neue" charset="0"/>
                <a:cs typeface="Helvetica Neue" charset="0"/>
              </a:rPr>
              <a:t>.</a:t>
            </a:r>
          </a:p>
        </p:txBody>
      </p:sp>
    </p:spTree>
    <p:extLst>
      <p:ext uri="{BB962C8B-B14F-4D97-AF65-F5344CB8AC3E}">
        <p14:creationId xmlns:p14="http://schemas.microsoft.com/office/powerpoint/2010/main" val="57916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75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750"/>
                                        <p:tgtEl>
                                          <p:spTgt spid="27"/>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7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F43B7067-AD42-FA42-8599-CFFB7336F98B}"/>
              </a:ext>
            </a:extLst>
          </p:cNvPr>
          <p:cNvSpPr txBox="1"/>
          <p:nvPr/>
        </p:nvSpPr>
        <p:spPr>
          <a:xfrm>
            <a:off x="2514661" y="2882197"/>
            <a:ext cx="1860920" cy="523220"/>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Business Email Compromise (BEC)</a:t>
            </a:r>
          </a:p>
        </p:txBody>
      </p:sp>
      <p:sp>
        <p:nvSpPr>
          <p:cNvPr id="37" name="TextBox 36">
            <a:extLst>
              <a:ext uri="{FF2B5EF4-FFF2-40B4-BE49-F238E27FC236}">
                <a16:creationId xmlns:a16="http://schemas.microsoft.com/office/drawing/2014/main" id="{BFB86CAB-DAD4-2C4E-B3FC-44E1ED66718D}"/>
              </a:ext>
            </a:extLst>
          </p:cNvPr>
          <p:cNvSpPr txBox="1"/>
          <p:nvPr/>
        </p:nvSpPr>
        <p:spPr>
          <a:xfrm>
            <a:off x="4933708" y="2879053"/>
            <a:ext cx="1562124" cy="307777"/>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Phishing</a:t>
            </a:r>
          </a:p>
        </p:txBody>
      </p:sp>
      <p:pic>
        <p:nvPicPr>
          <p:cNvPr id="53" name="Picture 52">
            <a:extLst>
              <a:ext uri="{FF2B5EF4-FFF2-40B4-BE49-F238E27FC236}">
                <a16:creationId xmlns:a16="http://schemas.microsoft.com/office/drawing/2014/main" id="{4E544AA7-808C-264B-8484-884E513401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8887" y="1631317"/>
            <a:ext cx="1134986" cy="1134986"/>
          </a:xfrm>
          <a:prstGeom prst="rect">
            <a:avLst/>
          </a:prstGeom>
        </p:spPr>
      </p:pic>
      <p:pic>
        <p:nvPicPr>
          <p:cNvPr id="55" name="Picture 54">
            <a:extLst>
              <a:ext uri="{FF2B5EF4-FFF2-40B4-BE49-F238E27FC236}">
                <a16:creationId xmlns:a16="http://schemas.microsoft.com/office/drawing/2014/main" id="{67A2A8FD-F38B-914C-888C-1F61024216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5390" y="1631316"/>
            <a:ext cx="1138762" cy="1138762"/>
          </a:xfrm>
          <a:prstGeom prst="rect">
            <a:avLst/>
          </a:prstGeom>
        </p:spPr>
      </p:pic>
      <p:sp>
        <p:nvSpPr>
          <p:cNvPr id="59" name="Rectangle 58">
            <a:extLst>
              <a:ext uri="{FF2B5EF4-FFF2-40B4-BE49-F238E27FC236}">
                <a16:creationId xmlns:a16="http://schemas.microsoft.com/office/drawing/2014/main" id="{443E61DE-912D-DB49-BAC0-008064F82A38}"/>
              </a:ext>
            </a:extLst>
          </p:cNvPr>
          <p:cNvSpPr/>
          <p:nvPr/>
        </p:nvSpPr>
        <p:spPr>
          <a:xfrm>
            <a:off x="2300822" y="3400767"/>
            <a:ext cx="2259928" cy="276999"/>
          </a:xfrm>
          <a:prstGeom prst="rect">
            <a:avLst/>
          </a:prstGeom>
        </p:spPr>
        <p:txBody>
          <a:bodyPr wrap="square">
            <a:spAutoFit/>
          </a:bodyPr>
          <a:lstStyle/>
          <a:p>
            <a:pPr marL="0" marR="0" lvl="0" indent="0" algn="ctr" defTabSz="457189" rtl="0" eaLnBrk="1" fontAlgn="base" latinLnBrk="0" hangingPunct="1">
              <a:lnSpc>
                <a:spcPct val="100000"/>
              </a:lnSpc>
              <a:spcBef>
                <a:spcPts val="8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5.3 Billion </a:t>
            </a: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in losses</a:t>
            </a:r>
            <a:r>
              <a:rPr kumimoji="0" lang="en-US" sz="1200" b="0" i="0" u="none" strike="noStrike" kern="1200" cap="none" spc="0" normalizeH="0" baseline="30000" noProof="0" dirty="0">
                <a:ln>
                  <a:noFill/>
                </a:ln>
                <a:solidFill>
                  <a:srgbClr val="00BCEB"/>
                </a:solidFill>
                <a:effectLst/>
                <a:uLnTx/>
                <a:uFillTx/>
                <a:latin typeface="CiscoSansTT ExtraLight"/>
                <a:ea typeface="ＭＳ Ｐゴシック" charset="0"/>
              </a:rPr>
              <a:t>2</a:t>
            </a:r>
            <a:endParaRPr kumimoji="0" lang="en-US" sz="1200" b="0" i="0" u="none" strike="noStrike" kern="1200" cap="none" spc="0" normalizeH="0" baseline="30000" noProof="0" dirty="0">
              <a:ln>
                <a:noFill/>
              </a:ln>
              <a:solidFill>
                <a:srgbClr val="005073"/>
              </a:solidFill>
              <a:effectLst/>
              <a:uLnTx/>
              <a:uFillTx/>
              <a:latin typeface="CiscoSansTT ExtraLight"/>
              <a:ea typeface="ＭＳ Ｐゴシック" charset="0"/>
            </a:endParaRPr>
          </a:p>
        </p:txBody>
      </p:sp>
      <p:sp>
        <p:nvSpPr>
          <p:cNvPr id="60" name="Rectangle 59">
            <a:extLst>
              <a:ext uri="{FF2B5EF4-FFF2-40B4-BE49-F238E27FC236}">
                <a16:creationId xmlns:a16="http://schemas.microsoft.com/office/drawing/2014/main" id="{16EF7F57-4485-DD40-AE26-57EFB6016571}"/>
              </a:ext>
            </a:extLst>
          </p:cNvPr>
          <p:cNvSpPr/>
          <p:nvPr/>
        </p:nvSpPr>
        <p:spPr>
          <a:xfrm>
            <a:off x="4709454" y="3400767"/>
            <a:ext cx="2081390" cy="276999"/>
          </a:xfrm>
          <a:prstGeom prst="rect">
            <a:avLst/>
          </a:prstGeom>
        </p:spPr>
        <p:txBody>
          <a:bodyPr wrap="square">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19.1 Billion </a:t>
            </a: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in 2020</a:t>
            </a:r>
            <a:r>
              <a:rPr kumimoji="0" lang="en-US" sz="1200" b="0" i="0" u="none" strike="noStrike" kern="1200" cap="none" spc="0" normalizeH="0" baseline="30000" noProof="0" dirty="0">
                <a:ln>
                  <a:noFill/>
                </a:ln>
                <a:solidFill>
                  <a:srgbClr val="00BCEB"/>
                </a:solidFill>
                <a:effectLst/>
                <a:uLnTx/>
                <a:uFillTx/>
                <a:latin typeface="CiscoSansTT ExtraLight"/>
                <a:ea typeface="ＭＳ Ｐゴシック" charset="0"/>
              </a:rPr>
              <a:t>3</a:t>
            </a:r>
            <a:endParaRPr kumimoji="0" lang="en-US" sz="1200" b="0" i="0" u="none" strike="noStrike" kern="1200" cap="none" spc="0" normalizeH="0" baseline="30000" noProof="0" dirty="0">
              <a:ln>
                <a:noFill/>
              </a:ln>
              <a:solidFill>
                <a:srgbClr val="005073"/>
              </a:solidFill>
              <a:effectLst/>
              <a:uLnTx/>
              <a:uFillTx/>
              <a:latin typeface="CiscoSansTT ExtraLight"/>
              <a:ea typeface="ＭＳ Ｐゴシック" charset="0"/>
            </a:endParaRPr>
          </a:p>
        </p:txBody>
      </p:sp>
      <p:sp>
        <p:nvSpPr>
          <p:cNvPr id="22" name="TextBox 21">
            <a:extLst>
              <a:ext uri="{FF2B5EF4-FFF2-40B4-BE49-F238E27FC236}">
                <a16:creationId xmlns:a16="http://schemas.microsoft.com/office/drawing/2014/main" id="{DD930AFB-8E94-3B40-A632-B8B03E5660CC}"/>
              </a:ext>
            </a:extLst>
          </p:cNvPr>
          <p:cNvSpPr txBox="1"/>
          <p:nvPr/>
        </p:nvSpPr>
        <p:spPr>
          <a:xfrm>
            <a:off x="6907189" y="3400767"/>
            <a:ext cx="2182568" cy="461665"/>
          </a:xfrm>
          <a:prstGeom prst="rect">
            <a:avLst/>
          </a:prstGeom>
          <a:noFill/>
        </p:spPr>
        <p:txBody>
          <a:bodyPr wrap="square" rtlCol="0">
            <a:spAutoFit/>
          </a:bodyPr>
          <a:lstStyle/>
          <a:p>
            <a:pPr marL="0" marR="0" lvl="0" indent="0" algn="ctr" defTabSz="457189" rtl="0" eaLnBrk="1" fontAlgn="base" latinLnBrk="0" hangingPunct="1">
              <a:lnSpc>
                <a:spcPct val="10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 54% </a:t>
            </a: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of legitimate domains used in phishing campaigns</a:t>
            </a:r>
            <a:r>
              <a:rPr kumimoji="0" lang="en-US" sz="1200" b="0" i="0" u="none" strike="noStrike" kern="1200" cap="none" spc="0" normalizeH="0" baseline="30000" noProof="0" dirty="0">
                <a:ln>
                  <a:noFill/>
                </a:ln>
                <a:solidFill>
                  <a:srgbClr val="00BCEB"/>
                </a:solidFill>
                <a:effectLst/>
                <a:uLnTx/>
                <a:uFillTx/>
                <a:latin typeface="CiscoSansTT ExtraLight"/>
                <a:ea typeface="ＭＳ Ｐゴシック" charset="0"/>
              </a:rPr>
              <a:t>4</a:t>
            </a:r>
            <a:endPar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4838" y="1631316"/>
            <a:ext cx="1134988" cy="1134988"/>
          </a:xfrm>
          <a:prstGeom prst="rect">
            <a:avLst/>
          </a:prstGeom>
        </p:spPr>
      </p:pic>
      <p:sp>
        <p:nvSpPr>
          <p:cNvPr id="25" name="TextBox 24">
            <a:extLst>
              <a:ext uri="{FF2B5EF4-FFF2-40B4-BE49-F238E27FC236}">
                <a16:creationId xmlns:a16="http://schemas.microsoft.com/office/drawing/2014/main" id="{F43B7067-AD42-FA42-8599-CFFB7336F98B}"/>
              </a:ext>
            </a:extLst>
          </p:cNvPr>
          <p:cNvSpPr txBox="1"/>
          <p:nvPr/>
        </p:nvSpPr>
        <p:spPr>
          <a:xfrm>
            <a:off x="7121473" y="2882198"/>
            <a:ext cx="1740584" cy="523220"/>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Domain Compromise</a:t>
            </a:r>
          </a:p>
        </p:txBody>
      </p:sp>
      <p:sp>
        <p:nvSpPr>
          <p:cNvPr id="28" name="Title 1">
            <a:extLst>
              <a:ext uri="{FF2B5EF4-FFF2-40B4-BE49-F238E27FC236}">
                <a16:creationId xmlns:a16="http://schemas.microsoft.com/office/drawing/2014/main" id="{CA93E03E-FA87-6446-B43E-99ADA022D3F3}"/>
              </a:ext>
            </a:extLst>
          </p:cNvPr>
          <p:cNvSpPr txBox="1">
            <a:spLocks/>
          </p:cNvSpPr>
          <p:nvPr/>
        </p:nvSpPr>
        <p:spPr>
          <a:xfrm>
            <a:off x="0" y="219582"/>
            <a:ext cx="9144000" cy="731837"/>
          </a:xfrm>
          <a:prstGeom prst="rect">
            <a:avLst/>
          </a:prstGeom>
        </p:spPr>
        <p:txBody>
          <a:bodyPr anchor="ctr"/>
          <a:lstStyle>
            <a:lvl1pPr algn="l" defTabSz="684213" rtl="0" eaLnBrk="1" fontAlgn="base" hangingPunct="1">
              <a:lnSpc>
                <a:spcPct val="80000"/>
              </a:lnSpc>
              <a:spcBef>
                <a:spcPct val="0"/>
              </a:spcBef>
              <a:spcAft>
                <a:spcPct val="0"/>
              </a:spcAft>
              <a:defRPr lang="en-US" sz="2800" b="0" i="0" kern="1200" dirty="0">
                <a:solidFill>
                  <a:schemeClr val="tx2"/>
                </a:solidFill>
                <a:latin typeface="CiscoSans ExtraLight"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282828"/>
                </a:solidFill>
                <a:effectLst/>
                <a:uLnTx/>
                <a:uFillTx/>
                <a:latin typeface="CiscoSansTT ExtraLight"/>
              </a:rPr>
              <a:t>Attackers Use </a:t>
            </a:r>
            <a:r>
              <a:rPr kumimoji="0" lang="en-US" sz="2000" b="0" i="0" u="none" strike="noStrike" kern="1200" cap="none" spc="0" normalizeH="0" baseline="0" noProof="0" dirty="0">
                <a:ln>
                  <a:noFill/>
                </a:ln>
                <a:solidFill>
                  <a:srgbClr val="00BCEB"/>
                </a:solidFill>
                <a:effectLst/>
                <a:uLnTx/>
                <a:uFillTx/>
                <a:latin typeface="CiscoSansTT ExtraLight"/>
              </a:rPr>
              <a:t>Multiple Ways </a:t>
            </a:r>
            <a:r>
              <a:rPr kumimoji="0" lang="en-US" sz="2000" b="0" i="0" u="none" strike="noStrike" kern="1200" cap="none" spc="0" normalizeH="0" baseline="0" noProof="0" dirty="0">
                <a:ln>
                  <a:noFill/>
                </a:ln>
                <a:solidFill>
                  <a:srgbClr val="282828"/>
                </a:solidFill>
                <a:effectLst/>
                <a:uLnTx/>
                <a:uFillTx/>
                <a:latin typeface="CiscoSansTT ExtraLight"/>
              </a:rPr>
              <a:t>to Get In</a:t>
            </a:r>
          </a:p>
        </p:txBody>
      </p:sp>
      <p:sp>
        <p:nvSpPr>
          <p:cNvPr id="32" name="TextBox 31">
            <a:extLst>
              <a:ext uri="{FF2B5EF4-FFF2-40B4-BE49-F238E27FC236}">
                <a16:creationId xmlns:a16="http://schemas.microsoft.com/office/drawing/2014/main" id="{3FBF6F46-33E8-7646-B551-D8C9E4DCE363}"/>
              </a:ext>
            </a:extLst>
          </p:cNvPr>
          <p:cNvSpPr txBox="1"/>
          <p:nvPr/>
        </p:nvSpPr>
        <p:spPr>
          <a:xfrm>
            <a:off x="338615" y="2882197"/>
            <a:ext cx="1609210" cy="307777"/>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Malware</a:t>
            </a:r>
          </a:p>
        </p:txBody>
      </p:sp>
      <p:sp>
        <p:nvSpPr>
          <p:cNvPr id="33" name="Rectangle 32">
            <a:extLst>
              <a:ext uri="{FF2B5EF4-FFF2-40B4-BE49-F238E27FC236}">
                <a16:creationId xmlns:a16="http://schemas.microsoft.com/office/drawing/2014/main" id="{7477F82E-BB4D-4244-8E13-7C480A9B30BB}"/>
              </a:ext>
            </a:extLst>
          </p:cNvPr>
          <p:cNvSpPr/>
          <p:nvPr/>
        </p:nvSpPr>
        <p:spPr>
          <a:xfrm>
            <a:off x="191351" y="3400767"/>
            <a:ext cx="1904176" cy="461665"/>
          </a:xfrm>
          <a:prstGeom prst="rect">
            <a:avLst/>
          </a:prstGeom>
        </p:spPr>
        <p:txBody>
          <a:bodyPr wrap="square">
            <a:spAutoFit/>
          </a:bodyPr>
          <a:lstStyle/>
          <a:p>
            <a:pPr marL="0" marR="0" lvl="0" indent="0" algn="ctr" defTabSz="457189" rtl="0" eaLnBrk="1" fontAlgn="base" latinLnBrk="0" hangingPunct="1">
              <a:lnSpc>
                <a:spcPct val="100000"/>
              </a:lnSpc>
              <a:spcBef>
                <a:spcPts val="800"/>
              </a:spcBef>
              <a:spcAft>
                <a:spcPct val="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Ransomware detections up </a:t>
            </a: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90% </a:t>
            </a: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in 2020</a:t>
            </a:r>
            <a:r>
              <a:rPr kumimoji="0" lang="en-US" sz="1200" b="0" i="0" u="none" strike="noStrike" kern="1200" cap="none" spc="0" normalizeH="0" baseline="30000" noProof="0" dirty="0">
                <a:ln>
                  <a:noFill/>
                </a:ln>
                <a:solidFill>
                  <a:srgbClr val="00BCEB"/>
                </a:solidFill>
                <a:effectLst/>
                <a:uLnTx/>
                <a:uFillTx/>
                <a:latin typeface="CiscoSansTT ExtraLight"/>
                <a:ea typeface="ＭＳ Ｐゴシック" charset="0"/>
              </a:rPr>
              <a:t>1</a:t>
            </a: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 </a:t>
            </a:r>
            <a:endPar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endParaRPr>
          </a:p>
        </p:txBody>
      </p:sp>
      <p:pic>
        <p:nvPicPr>
          <p:cNvPr id="40" name="Picture 39">
            <a:extLst>
              <a:ext uri="{FF2B5EF4-FFF2-40B4-BE49-F238E27FC236}">
                <a16:creationId xmlns:a16="http://schemas.microsoft.com/office/drawing/2014/main" id="{196126EB-E82B-084E-8457-605594DCB7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5945" y="1635090"/>
            <a:ext cx="1134988" cy="1134988"/>
          </a:xfrm>
          <a:prstGeom prst="rect">
            <a:avLst/>
          </a:prstGeom>
        </p:spPr>
      </p:pic>
    </p:spTree>
    <p:extLst>
      <p:ext uri="{BB962C8B-B14F-4D97-AF65-F5344CB8AC3E}">
        <p14:creationId xmlns:p14="http://schemas.microsoft.com/office/powerpoint/2010/main" val="37201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TKaSsNFK3_3zWOm19ljAQ"/>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7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SASE EBC presentation (Q2 update) 2021 02 01b" id="{6806DE51-387C-474F-AB34-F06F125588B1}" vid="{6D938AC4-5BF2-D847-8D03-F19DF7194BAE}"/>
    </a:ext>
  </a:extLst>
</a:theme>
</file>

<file path=ppt/theme/theme10.xml><?xml version="1.0" encoding="utf-8"?>
<a:theme xmlns:a="http://schemas.openxmlformats.org/drawingml/2006/main" name="2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1.xml><?xml version="1.0" encoding="utf-8"?>
<a:theme xmlns:a="http://schemas.openxmlformats.org/drawingml/2006/main" name="Blue theme 2015 16x9">
  <a:themeElements>
    <a:clrScheme name="Custom 112">
      <a:dk1>
        <a:srgbClr val="282828"/>
      </a:dk1>
      <a:lt1>
        <a:srgbClr val="0D274D"/>
      </a:lt1>
      <a:dk2>
        <a:srgbClr val="1E4471"/>
      </a:dk2>
      <a:lt2>
        <a:srgbClr val="FFFFFF"/>
      </a:lt2>
      <a:accent1>
        <a:srgbClr val="00BCEB"/>
      </a:accent1>
      <a:accent2>
        <a:srgbClr val="74BF4B"/>
      </a:accent2>
      <a:accent3>
        <a:srgbClr val="1E4471"/>
      </a:accent3>
      <a:accent4>
        <a:srgbClr val="9E9EA2"/>
      </a:accent4>
      <a:accent5>
        <a:srgbClr val="FBAB2C"/>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2.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3.xml><?xml version="1.0" encoding="utf-8"?>
<a:theme xmlns:a="http://schemas.openxmlformats.org/drawingml/2006/main" name="3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4.xml><?xml version="1.0" encoding="utf-8"?>
<a:theme xmlns:a="http://schemas.openxmlformats.org/drawingml/2006/main" name="11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5.xml><?xml version="1.0" encoding="utf-8"?>
<a:theme xmlns:a="http://schemas.openxmlformats.org/drawingml/2006/main" name="Cisco them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theme 2019" id="{7CA28228-E512-4B69-B49D-8666B627B570}" vid="{211D41BD-90EC-49DE-8A2B-9C1A264597F8}"/>
    </a:ext>
  </a:extLst>
</a:theme>
</file>

<file path=ppt/theme/theme16.xml><?xml version="1.0" encoding="utf-8"?>
<a:theme xmlns:a="http://schemas.openxmlformats.org/drawingml/2006/main" name="6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7.xml><?xml version="1.0" encoding="utf-8"?>
<a:theme xmlns:a="http://schemas.openxmlformats.org/drawingml/2006/main" name="Dark Theme">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Dark Theme" id="{74CE9790-9ECC-4402-B5EF-AE468BDD3653}" vid="{B9521E2C-652F-496F-9CDC-A7B999746769}"/>
    </a:ext>
  </a:extLst>
</a:theme>
</file>

<file path=ppt/theme/theme18.xml><?xml version="1.0" encoding="utf-8"?>
<a:theme xmlns:a="http://schemas.openxmlformats.org/drawingml/2006/main" name="4_Cisco Secure Template White">
  <a:themeElements>
    <a:clrScheme name="Custom 9">
      <a:dk1>
        <a:srgbClr val="0D274D"/>
      </a:dk1>
      <a:lt1>
        <a:srgbClr val="FFFFFF"/>
      </a:lt1>
      <a:dk2>
        <a:srgbClr val="0D274D"/>
      </a:dk2>
      <a:lt2>
        <a:srgbClr val="FFFFFF"/>
      </a:lt2>
      <a:accent1>
        <a:srgbClr val="6DBD49"/>
      </a:accent1>
      <a:accent2>
        <a:srgbClr val="00BCEB"/>
      </a:accent2>
      <a:accent3>
        <a:srgbClr val="BABABA"/>
      </a:accent3>
      <a:accent4>
        <a:srgbClr val="FBAB18"/>
      </a:accent4>
      <a:accent5>
        <a:srgbClr val="CB2781"/>
      </a:accent5>
      <a:accent6>
        <a:srgbClr val="9892E1"/>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Cisco Secure Template White v5.4" id="{55F51FDF-8095-6F4E-9671-8D10C15CB66F}" vid="{7CD2A81B-8F51-6C4A-BAE6-DCCCA653AB17}"/>
    </a:ext>
  </a:extLst>
</a:theme>
</file>

<file path=ppt/theme/theme19.xml><?xml version="1.0" encoding="utf-8"?>
<a:theme xmlns:a="http://schemas.openxmlformats.org/drawingml/2006/main" name="5_Cisco Secure Template White">
  <a:themeElements>
    <a:clrScheme name="Custom 9">
      <a:dk1>
        <a:srgbClr val="0D274D"/>
      </a:dk1>
      <a:lt1>
        <a:srgbClr val="FFFFFF"/>
      </a:lt1>
      <a:dk2>
        <a:srgbClr val="0D274D"/>
      </a:dk2>
      <a:lt2>
        <a:srgbClr val="FFFFFF"/>
      </a:lt2>
      <a:accent1>
        <a:srgbClr val="6DBD49"/>
      </a:accent1>
      <a:accent2>
        <a:srgbClr val="00BCEB"/>
      </a:accent2>
      <a:accent3>
        <a:srgbClr val="BABABA"/>
      </a:accent3>
      <a:accent4>
        <a:srgbClr val="FBAB18"/>
      </a:accent4>
      <a:accent5>
        <a:srgbClr val="CB2781"/>
      </a:accent5>
      <a:accent6>
        <a:srgbClr val="9892E1"/>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Cisco Secure Template White v5.3" id="{4ADF7167-1544-45C4-9108-1F82467DF0B8}" vid="{8B78744A-C548-4822-96C2-62805C3D95F8}"/>
    </a:ext>
  </a:extLst>
</a:theme>
</file>

<file path=ppt/theme/theme2.xml><?xml version="1.0" encoding="utf-8"?>
<a:theme xmlns:a="http://schemas.openxmlformats.org/drawingml/2006/main" name="Cloud Security Template Jan 2020">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loud Security Template Jan 2020" id="{00047AF4-E571-B949-8C97-B4270D53E229}" vid="{38FE2722-4388-EA4B-A134-E979858B7DE6}"/>
    </a:ext>
  </a:extLst>
</a:theme>
</file>

<file path=ppt/theme/theme20.xml><?xml version="1.0" encoding="utf-8"?>
<a:theme xmlns:a="http://schemas.openxmlformats.org/drawingml/2006/main" name="6_Cisco Secure Template White">
  <a:themeElements>
    <a:clrScheme name="Custom 9">
      <a:dk1>
        <a:srgbClr val="0D274D"/>
      </a:dk1>
      <a:lt1>
        <a:srgbClr val="FFFFFF"/>
      </a:lt1>
      <a:dk2>
        <a:srgbClr val="0D274D"/>
      </a:dk2>
      <a:lt2>
        <a:srgbClr val="FFFFFF"/>
      </a:lt2>
      <a:accent1>
        <a:srgbClr val="6DBD49"/>
      </a:accent1>
      <a:accent2>
        <a:srgbClr val="00BCEB"/>
      </a:accent2>
      <a:accent3>
        <a:srgbClr val="BABABA"/>
      </a:accent3>
      <a:accent4>
        <a:srgbClr val="FBAB18"/>
      </a:accent4>
      <a:accent5>
        <a:srgbClr val="CB2781"/>
      </a:accent5>
      <a:accent6>
        <a:srgbClr val="9892E1"/>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Cisco Secure Template White v5.3" id="{4ADF7167-1544-45C4-9108-1F82467DF0B8}" vid="{8B78744A-C548-4822-96C2-62805C3D95F8}"/>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isco Secure Template White">
  <a:themeElements>
    <a:clrScheme name="Cisco Secure">
      <a:dk1>
        <a:srgbClr val="0D274D"/>
      </a:dk1>
      <a:lt1>
        <a:srgbClr val="FFFFFF"/>
      </a:lt1>
      <a:dk2>
        <a:srgbClr val="0D274D"/>
      </a:dk2>
      <a:lt2>
        <a:srgbClr val="FFFFFF"/>
      </a:lt2>
      <a:accent1>
        <a:srgbClr val="6DBD4A"/>
      </a:accent1>
      <a:accent2>
        <a:srgbClr val="00BCEB"/>
      </a:accent2>
      <a:accent3>
        <a:srgbClr val="0D274D"/>
      </a:accent3>
      <a:accent4>
        <a:srgbClr val="1E4471"/>
      </a:accent4>
      <a:accent5>
        <a:srgbClr val="FBAB18"/>
      </a:accent5>
      <a:accent6>
        <a:srgbClr val="E3241B"/>
      </a:accent6>
      <a:hlink>
        <a:srgbClr val="6EBE4A"/>
      </a:hlink>
      <a:folHlink>
        <a:srgbClr val="6EBE4A"/>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Presentation1" id="{12DCAA8C-E119-4047-8F04-90D13FFCF138}" vid="{EE036717-E08C-4BC5-B173-793E5AEECFB9}"/>
    </a:ext>
  </a:extLst>
</a:theme>
</file>

<file path=ppt/theme/theme4.xml><?xml version="1.0" encoding="utf-8"?>
<a:theme xmlns:a="http://schemas.openxmlformats.org/drawingml/2006/main" name="1_Cisco Secure Template White">
  <a:themeElements>
    <a:clrScheme name="Cisco Secure Light">
      <a:dk1>
        <a:srgbClr val="0D274D"/>
      </a:dk1>
      <a:lt1>
        <a:srgbClr val="FFFFFF"/>
      </a:lt1>
      <a:dk2>
        <a:srgbClr val="0D274D"/>
      </a:dk2>
      <a:lt2>
        <a:srgbClr val="FFFFFF"/>
      </a:lt2>
      <a:accent1>
        <a:srgbClr val="6DBD49"/>
      </a:accent1>
      <a:accent2>
        <a:srgbClr val="00BCEB"/>
      </a:accent2>
      <a:accent3>
        <a:srgbClr val="0D274D"/>
      </a:accent3>
      <a:accent4>
        <a:srgbClr val="1E4471"/>
      </a:accent4>
      <a:accent5>
        <a:srgbClr val="FBAB18"/>
      </a:accent5>
      <a:accent6>
        <a:srgbClr val="E3241B"/>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5.xml><?xml version="1.0" encoding="utf-8"?>
<a:theme xmlns:a="http://schemas.openxmlformats.org/drawingml/2006/main" name="Cisco Secure Template White">
  <a:themeElements>
    <a:clrScheme name="Cisco Secure">
      <a:dk1>
        <a:srgbClr val="0D274D"/>
      </a:dk1>
      <a:lt1>
        <a:srgbClr val="FFFFFF"/>
      </a:lt1>
      <a:dk2>
        <a:srgbClr val="0D274D"/>
      </a:dk2>
      <a:lt2>
        <a:srgbClr val="FFFFFF"/>
      </a:lt2>
      <a:accent1>
        <a:srgbClr val="6DBD4A"/>
      </a:accent1>
      <a:accent2>
        <a:srgbClr val="00BCEB"/>
      </a:accent2>
      <a:accent3>
        <a:srgbClr val="0D274D"/>
      </a:accent3>
      <a:accent4>
        <a:srgbClr val="1E4471"/>
      </a:accent4>
      <a:accent5>
        <a:srgbClr val="FBAB18"/>
      </a:accent5>
      <a:accent6>
        <a:srgbClr val="E3241B"/>
      </a:accent6>
      <a:hlink>
        <a:srgbClr val="6EBE4A"/>
      </a:hlink>
      <a:folHlink>
        <a:srgbClr val="6EBE4A"/>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6.xml><?xml version="1.0" encoding="utf-8"?>
<a:theme xmlns:a="http://schemas.openxmlformats.org/drawingml/2006/main" name="1_Cisco Secure Template White">
  <a:themeElements>
    <a:clrScheme name="Cisco Secure Light">
      <a:dk1>
        <a:srgbClr val="0D274D"/>
      </a:dk1>
      <a:lt1>
        <a:srgbClr val="FFFFFF"/>
      </a:lt1>
      <a:dk2>
        <a:srgbClr val="0D274D"/>
      </a:dk2>
      <a:lt2>
        <a:srgbClr val="FFFFFF"/>
      </a:lt2>
      <a:accent1>
        <a:srgbClr val="6DBD49"/>
      </a:accent1>
      <a:accent2>
        <a:srgbClr val="00BCEB"/>
      </a:accent2>
      <a:accent3>
        <a:srgbClr val="0D274D"/>
      </a:accent3>
      <a:accent4>
        <a:srgbClr val="1E4471"/>
      </a:accent4>
      <a:accent5>
        <a:srgbClr val="FBAB18"/>
      </a:accent5>
      <a:accent6>
        <a:srgbClr val="E3241B"/>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7.xml><?xml version="1.0" encoding="utf-8"?>
<a:theme xmlns:a="http://schemas.openxmlformats.org/drawingml/2006/main" name="2_Cisco Secure Template White">
  <a:themeElements>
    <a:clrScheme name="Cisco Secure Colors White">
      <a:dk1>
        <a:srgbClr val="0D274D"/>
      </a:dk1>
      <a:lt1>
        <a:srgbClr val="FFFFFF"/>
      </a:lt1>
      <a:dk2>
        <a:srgbClr val="0D274D"/>
      </a:dk2>
      <a:lt2>
        <a:srgbClr val="FFFFFF"/>
      </a:lt2>
      <a:accent1>
        <a:srgbClr val="00BCEB"/>
      </a:accent1>
      <a:accent2>
        <a:srgbClr val="6EBE4A"/>
      </a:accent2>
      <a:accent3>
        <a:srgbClr val="0D274D"/>
      </a:accent3>
      <a:accent4>
        <a:srgbClr val="1E4471"/>
      </a:accent4>
      <a:accent5>
        <a:srgbClr val="FBAB18"/>
      </a:accent5>
      <a:accent6>
        <a:srgbClr val="E3241B"/>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8.xml><?xml version="1.0" encoding="utf-8"?>
<a:theme xmlns:a="http://schemas.openxmlformats.org/drawingml/2006/main" name="3_Cisco Secure Template White">
  <a:themeElements>
    <a:clrScheme name="Custom 11">
      <a:dk1>
        <a:srgbClr val="0D274D"/>
      </a:dk1>
      <a:lt1>
        <a:srgbClr val="FFFFFF"/>
      </a:lt1>
      <a:dk2>
        <a:srgbClr val="0D274D"/>
      </a:dk2>
      <a:lt2>
        <a:srgbClr val="FFFFFF"/>
      </a:lt2>
      <a:accent1>
        <a:srgbClr val="6DBD49"/>
      </a:accent1>
      <a:accent2>
        <a:srgbClr val="00BCEB"/>
      </a:accent2>
      <a:accent3>
        <a:srgbClr val="BABABA"/>
      </a:accent3>
      <a:accent4>
        <a:srgbClr val="FBAB18"/>
      </a:accent4>
      <a:accent5>
        <a:srgbClr val="CB2781"/>
      </a:accent5>
      <a:accent6>
        <a:srgbClr val="9892E1"/>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9.xml><?xml version="1.0" encoding="utf-8"?>
<a:theme xmlns:a="http://schemas.openxmlformats.org/drawingml/2006/main" name="Cisco Secure v5.3">
  <a:themeElements>
    <a:clrScheme name="Custom 9">
      <a:dk1>
        <a:srgbClr val="0D274D"/>
      </a:dk1>
      <a:lt1>
        <a:srgbClr val="FFFFFF"/>
      </a:lt1>
      <a:dk2>
        <a:srgbClr val="0D274D"/>
      </a:dk2>
      <a:lt2>
        <a:srgbClr val="FFFFFF"/>
      </a:lt2>
      <a:accent1>
        <a:srgbClr val="6DBD49"/>
      </a:accent1>
      <a:accent2>
        <a:srgbClr val="00BCEB"/>
      </a:accent2>
      <a:accent3>
        <a:srgbClr val="BABABA"/>
      </a:accent3>
      <a:accent4>
        <a:srgbClr val="FBAB18"/>
      </a:accent4>
      <a:accent5>
        <a:srgbClr val="CB2781"/>
      </a:accent5>
      <a:accent6>
        <a:srgbClr val="9892E1"/>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Cisco Secure v5.3" id="{7652F94E-43EA-A94B-BD81-D11701E139B6}" vid="{6FF1092A-B829-C245-BE22-7A28565453DC}"/>
    </a:ext>
  </a:extLst>
</a:theme>
</file>

<file path=docProps/app.xml><?xml version="1.0" encoding="utf-8"?>
<Properties xmlns="http://schemas.openxmlformats.org/officeDocument/2006/extended-properties" xmlns:vt="http://schemas.openxmlformats.org/officeDocument/2006/docPropsVTypes">
  <Template/>
  <TotalTime>20231</TotalTime>
  <Words>4288</Words>
  <Application>Microsoft Office PowerPoint</Application>
  <PresentationFormat>On-screen Show (16:9)</PresentationFormat>
  <Paragraphs>448</Paragraphs>
  <Slides>40</Slides>
  <Notes>38</Notes>
  <HiddenSlides>1</HiddenSlides>
  <MMClips>0</MMClips>
  <ScaleCrop>false</ScaleCrop>
  <HeadingPairs>
    <vt:vector size="8" baseType="variant">
      <vt:variant>
        <vt:lpstr>Fonts Used</vt:lpstr>
      </vt:variant>
      <vt:variant>
        <vt:i4>11</vt:i4>
      </vt:variant>
      <vt:variant>
        <vt:lpstr>Theme</vt:lpstr>
      </vt:variant>
      <vt:variant>
        <vt:i4>20</vt:i4>
      </vt:variant>
      <vt:variant>
        <vt:lpstr>Embedded OLE Servers</vt:lpstr>
      </vt:variant>
      <vt:variant>
        <vt:i4>1</vt:i4>
      </vt:variant>
      <vt:variant>
        <vt:lpstr>Slide Titles</vt:lpstr>
      </vt:variant>
      <vt:variant>
        <vt:i4>40</vt:i4>
      </vt:variant>
    </vt:vector>
  </HeadingPairs>
  <TitlesOfParts>
    <vt:vector size="72" baseType="lpstr">
      <vt:lpstr>Arial</vt:lpstr>
      <vt:lpstr>Calibri</vt:lpstr>
      <vt:lpstr>CiscoSans ExtraLight</vt:lpstr>
      <vt:lpstr>CiscoSansTT</vt:lpstr>
      <vt:lpstr>CiscoSansTT ExtraLight</vt:lpstr>
      <vt:lpstr>CiscoSansTT Light</vt:lpstr>
      <vt:lpstr>Courier New</vt:lpstr>
      <vt:lpstr>Helvetica Neue</vt:lpstr>
      <vt:lpstr>Helvetica Neue Light</vt:lpstr>
      <vt:lpstr>Helvetica Neue Thin</vt:lpstr>
      <vt:lpstr>Hiragino Maru Gothic ProN W4</vt:lpstr>
      <vt:lpstr>7_Blue theme 2015 16x9</vt:lpstr>
      <vt:lpstr>Cloud Security Template Jan 2020</vt:lpstr>
      <vt:lpstr>1_Cisco Secure Template White</vt:lpstr>
      <vt:lpstr>1_Cisco Secure Template White</vt:lpstr>
      <vt:lpstr>Cisco Secure Template White</vt:lpstr>
      <vt:lpstr>1_Cisco Secure Template White</vt:lpstr>
      <vt:lpstr>2_Cisco Secure Template White</vt:lpstr>
      <vt:lpstr>3_Cisco Secure Template White</vt:lpstr>
      <vt:lpstr>Cisco Secure v5.3</vt:lpstr>
      <vt:lpstr>2_Blue theme 2015 16x9</vt:lpstr>
      <vt:lpstr>Blue theme 2015 16x9</vt:lpstr>
      <vt:lpstr>1_Blue theme 2015 16x9</vt:lpstr>
      <vt:lpstr>3_Blue theme 2015 16x9</vt:lpstr>
      <vt:lpstr>11_Blue theme 2015 16x9</vt:lpstr>
      <vt:lpstr>Cisco theme 2019</vt:lpstr>
      <vt:lpstr>6_Blue theme 2015 16x9</vt:lpstr>
      <vt:lpstr>Dark Theme</vt:lpstr>
      <vt:lpstr>4_Cisco Secure Template White</vt:lpstr>
      <vt:lpstr>5_Cisco Secure Template White</vt:lpstr>
      <vt:lpstr>6_Cisco Secure Template White</vt:lpstr>
      <vt:lpstr>think-cell Slide</vt:lpstr>
      <vt:lpstr>Kibernetička sigurnost</vt:lpstr>
      <vt:lpstr>PowerPoint Presentation</vt:lpstr>
      <vt:lpstr>PowerPoint Presentation</vt:lpstr>
      <vt:lpstr>PowerPoint Presentation</vt:lpstr>
      <vt:lpstr>PowerPoint Presentation</vt:lpstr>
      <vt:lpstr>PowerPoint Presentation</vt:lpstr>
      <vt:lpstr>PowerPoint Presentation</vt:lpstr>
      <vt:lpstr>95% of All Successful Cyber Attacks are Caused by Phishing</vt:lpstr>
      <vt:lpstr>PowerPoint Presentation</vt:lpstr>
      <vt:lpstr>PowerPoint Presentation</vt:lpstr>
      <vt:lpstr>Stealing credentials</vt:lpstr>
      <vt:lpstr>Credential caching</vt:lpstr>
      <vt:lpstr>Tools of the trade</vt:lpstr>
      <vt:lpstr>The REvil ransomware</vt:lpstr>
      <vt:lpstr>The REvil ransomware</vt:lpstr>
      <vt:lpstr>The REvil ransomware</vt:lpstr>
      <vt:lpstr>Creates a mutex</vt:lpstr>
      <vt:lpstr>Establishes persistence</vt:lpstr>
      <vt:lpstr>Stopping processes and services</vt:lpstr>
      <vt:lpstr>Deleting backups</vt:lpstr>
      <vt:lpstr>Disabling Windows recovery tools</vt:lpstr>
      <vt:lpstr>Changing firewall rules</vt:lpstr>
      <vt:lpstr>Contacting the C2 server</vt:lpstr>
      <vt:lpstr>Encrypting files</vt:lpstr>
      <vt:lpstr>Creating ransom notes</vt:lpstr>
      <vt:lpstr>Changing desktop wallpaper</vt:lpstr>
      <vt:lpstr>PowerPoint Presentation</vt:lpstr>
      <vt:lpstr>PowerPoint Presentation</vt:lpstr>
      <vt:lpstr>Defense in the real world</vt:lpstr>
      <vt:lpstr>Cisco Umbrella </vt:lpstr>
      <vt:lpstr>Networking and security teams struggle to…</vt:lpstr>
      <vt:lpstr>Today’s cloud-centric world</vt:lpstr>
      <vt:lpstr>Cisco Secure  Access by Duo</vt:lpstr>
      <vt:lpstr>What’s Different in a Zero-Trust Approach</vt:lpstr>
      <vt:lpstr>PowerPoint Presentation</vt:lpstr>
      <vt:lpstr>World’s Easiest  and Most  Secure MFA</vt:lpstr>
      <vt:lpstr>Broadest Range  of Multi-Factor Authentication  (MFA) Options</vt:lpstr>
      <vt:lpstr>Meet Compliance Requirements</vt:lpstr>
      <vt:lpstr>Duo Supports Your Work Applications</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ius@cisco.com</dc:creator>
  <cp:lastModifiedBy>Katarina Plenković</cp:lastModifiedBy>
  <cp:revision>113</cp:revision>
  <cp:lastPrinted>2016-04-29T20:31:14Z</cp:lastPrinted>
  <dcterms:created xsi:type="dcterms:W3CDTF">2014-07-09T19:55:36Z</dcterms:created>
  <dcterms:modified xsi:type="dcterms:W3CDTF">2021-11-03T11:02:10Z</dcterms:modified>
</cp:coreProperties>
</file>